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sldIdLst>
    <p:sldId id="296" r:id="rId2"/>
    <p:sldId id="297" r:id="rId3"/>
    <p:sldId id="298" r:id="rId4"/>
    <p:sldId id="299" r:id="rId5"/>
  </p:sldIdLst>
  <p:sldSz cx="7556500" cy="10693400"/>
  <p:notesSz cx="6858000" cy="9144000"/>
  <p:embeddedFontLst>
    <p:embeddedFont>
      <p:font typeface="Calibri" panose="020F0502020204030204" pitchFamily="34" charset="0"/>
      <p:regular r:id="rId6"/>
      <p:bold r:id="rId7"/>
      <p:italic r:id="rId8"/>
      <p:boldItalic r:id="rId9"/>
    </p:embeddedFont>
    <p:embeddedFont>
      <p:font typeface="Cormorant Infant" pitchFamily="2" charset="0"/>
      <p:regular r:id="rId10"/>
      <p:bold r:id="rId11"/>
      <p:italic r:id="rId12"/>
      <p:boldItalic r:id="rId13"/>
    </p:embeddedFont>
    <p:embeddedFont>
      <p:font typeface="Cormorant Infant Bold Italics" panose="020B0604020202020204" charset="0"/>
      <p:regular r:id="rId14"/>
    </p:embeddedFont>
    <p:embeddedFont>
      <p:font typeface="Cormorant Infant Medium" pitchFamily="2" charset="0"/>
      <p:regular r:id="rId15"/>
      <p:italic r:id="rId16"/>
    </p:embeddedFont>
    <p:embeddedFont>
      <p:font typeface="Mrs Saint Delafield" panose="02000000000000000000" pitchFamily="2" charset="0"/>
      <p:regular r:id="rId17"/>
    </p:embeddedFont>
    <p:embeddedFont>
      <p:font typeface="Ovo" panose="02020502070400060406" pitchFamily="18" charset="0"/>
      <p:regular r:id="rId1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8F3"/>
    <a:srgbClr val="92393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5" autoAdjust="0"/>
    <p:restoredTop sz="94564" autoAdjust="0"/>
  </p:normalViewPr>
  <p:slideViewPr>
    <p:cSldViewPr>
      <p:cViewPr varScale="1">
        <p:scale>
          <a:sx n="71" d="100"/>
          <a:sy n="71" d="100"/>
        </p:scale>
        <p:origin x="2198" y="72"/>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3.fntdata"/><Relationship Id="rId13" Type="http://schemas.openxmlformats.org/officeDocument/2006/relationships/font" Target="fonts/font8.fntdata"/><Relationship Id="rId18" Type="http://schemas.openxmlformats.org/officeDocument/2006/relationships/font" Target="fonts/font13.fntdata"/><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font" Target="fonts/font2.fntdata"/><Relationship Id="rId12" Type="http://schemas.openxmlformats.org/officeDocument/2006/relationships/font" Target="fonts/font7.fntdata"/><Relationship Id="rId17" Type="http://schemas.openxmlformats.org/officeDocument/2006/relationships/font" Target="fonts/font12.fntdata"/><Relationship Id="rId2" Type="http://schemas.openxmlformats.org/officeDocument/2006/relationships/slide" Target="slides/slide1.xml"/><Relationship Id="rId16" Type="http://schemas.openxmlformats.org/officeDocument/2006/relationships/font" Target="fonts/font11.fntdata"/><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font" Target="fonts/font1.fntdata"/><Relationship Id="rId11" Type="http://schemas.openxmlformats.org/officeDocument/2006/relationships/font" Target="fonts/font6.fntdata"/><Relationship Id="rId5" Type="http://schemas.openxmlformats.org/officeDocument/2006/relationships/slide" Target="slides/slide4.xml"/><Relationship Id="rId15" Type="http://schemas.openxmlformats.org/officeDocument/2006/relationships/font" Target="fonts/font10.fntdata"/><Relationship Id="rId10" Type="http://schemas.openxmlformats.org/officeDocument/2006/relationships/font" Target="fonts/font5.fntdata"/><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font" Target="fonts/font4.fntdata"/><Relationship Id="rId14" Type="http://schemas.openxmlformats.org/officeDocument/2006/relationships/font" Target="fonts/font9.fntdata"/><Relationship Id="rId22"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1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12/17/2023</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sv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7.xml"/><Relationship Id="rId6" Type="http://schemas.openxmlformats.org/officeDocument/2006/relationships/image" Target="../media/image5.jpeg"/><Relationship Id="rId5" Type="http://schemas.openxmlformats.org/officeDocument/2006/relationships/image" Target="../media/image4.svg"/><Relationship Id="rId4" Type="http://schemas.openxmlformats.org/officeDocument/2006/relationships/image" Target="../media/image3.png"/><Relationship Id="rId9" Type="http://schemas.openxmlformats.org/officeDocument/2006/relationships/image" Target="../media/image8.svg"/></Relationships>
</file>

<file path=ppt/slides/_rels/slide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7.xml"/><Relationship Id="rId5" Type="http://schemas.openxmlformats.org/officeDocument/2006/relationships/image" Target="../media/image12.svg"/><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4.svg"/></Relationships>
</file>

<file path=ppt/slides/_rels/slide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1.png"/><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923939"/>
        </a:solidFill>
        <a:effectLst/>
      </p:bgPr>
    </p:bg>
    <p:spTree>
      <p:nvGrpSpPr>
        <p:cNvPr id="1" name=""/>
        <p:cNvGrpSpPr/>
        <p:nvPr/>
      </p:nvGrpSpPr>
      <p:grpSpPr>
        <a:xfrm>
          <a:off x="0" y="0"/>
          <a:ext cx="0" cy="0"/>
          <a:chOff x="0" y="0"/>
          <a:chExt cx="0" cy="0"/>
        </a:xfrm>
      </p:grpSpPr>
      <p:grpSp>
        <p:nvGrpSpPr>
          <p:cNvPr id="39" name="Group 4 - Page 1">
            <a:extLst>
              <a:ext uri="{FF2B5EF4-FFF2-40B4-BE49-F238E27FC236}">
                <a16:creationId xmlns:a16="http://schemas.microsoft.com/office/drawing/2014/main" id="{9D60A381-0985-2EE5-ACB8-ECE9468C8415}"/>
              </a:ext>
            </a:extLst>
          </p:cNvPr>
          <p:cNvGrpSpPr/>
          <p:nvPr/>
        </p:nvGrpSpPr>
        <p:grpSpPr>
          <a:xfrm>
            <a:off x="-779421" y="-1500828"/>
            <a:ext cx="9094474" cy="12267089"/>
            <a:chOff x="-779421" y="-1500828"/>
            <a:chExt cx="9094474" cy="12267089"/>
          </a:xfrm>
        </p:grpSpPr>
        <p:grpSp>
          <p:nvGrpSpPr>
            <p:cNvPr id="29" name="Group 28">
              <a:extLst>
                <a:ext uri="{FF2B5EF4-FFF2-40B4-BE49-F238E27FC236}">
                  <a16:creationId xmlns:a16="http://schemas.microsoft.com/office/drawing/2014/main" id="{D54AD29A-61D0-522F-669C-7C42BDC02D81}"/>
                </a:ext>
              </a:extLst>
            </p:cNvPr>
            <p:cNvGrpSpPr/>
            <p:nvPr/>
          </p:nvGrpSpPr>
          <p:grpSpPr>
            <a:xfrm>
              <a:off x="-779421" y="-1500828"/>
              <a:ext cx="9094474" cy="12267089"/>
              <a:chOff x="-779421" y="-1500828"/>
              <a:chExt cx="9094474" cy="12267089"/>
            </a:xfrm>
          </p:grpSpPr>
          <p:sp>
            <p:nvSpPr>
              <p:cNvPr id="27" name="Freeform: Shape 26">
                <a:extLst>
                  <a:ext uri="{FF2B5EF4-FFF2-40B4-BE49-F238E27FC236}">
                    <a16:creationId xmlns:a16="http://schemas.microsoft.com/office/drawing/2014/main" id="{41620086-3F96-59D0-B4B7-3153D7572E10}"/>
                  </a:ext>
                </a:extLst>
              </p:cNvPr>
              <p:cNvSpPr/>
              <p:nvPr/>
            </p:nvSpPr>
            <p:spPr>
              <a:xfrm rot="-3072317">
                <a:off x="6102978" y="8545749"/>
                <a:ext cx="2405622" cy="2018528"/>
              </a:xfrm>
              <a:custGeom>
                <a:avLst/>
                <a:gdLst>
                  <a:gd name="connsiteX0" fmla="*/ 2405622 w 2405622"/>
                  <a:gd name="connsiteY0" fmla="*/ 0 h 2018528"/>
                  <a:gd name="connsiteX1" fmla="*/ 2405622 w 2405622"/>
                  <a:gd name="connsiteY1" fmla="*/ 364035 h 2018528"/>
                  <a:gd name="connsiteX2" fmla="*/ 347459 w 2405622"/>
                  <a:gd name="connsiteY2" fmla="*/ 2018528 h 2018528"/>
                  <a:gd name="connsiteX3" fmla="*/ 0 w 2405622"/>
                  <a:gd name="connsiteY3" fmla="*/ 2018528 h 2018528"/>
                  <a:gd name="connsiteX4" fmla="*/ 0 w 2405622"/>
                  <a:gd name="connsiteY4" fmla="*/ 0 h 2018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5622" h="2018528">
                    <a:moveTo>
                      <a:pt x="2405622" y="0"/>
                    </a:moveTo>
                    <a:lnTo>
                      <a:pt x="2405622" y="364035"/>
                    </a:lnTo>
                    <a:lnTo>
                      <a:pt x="347459" y="2018528"/>
                    </a:lnTo>
                    <a:lnTo>
                      <a:pt x="0" y="2018528"/>
                    </a:lnTo>
                    <a:lnTo>
                      <a:pt x="0" y="0"/>
                    </a:lnTo>
                    <a:close/>
                  </a:path>
                </a:pathLst>
              </a:custGeom>
              <a:blipFill>
                <a:blip r:embed="rId2">
                  <a:extLst>
                    <a:ext uri="{96DAC541-7B7A-43D3-8B79-37D633B846F1}">
                      <asvg:svgBlip xmlns:asvg="http://schemas.microsoft.com/office/drawing/2016/SVG/main" r:embed="rId3"/>
                    </a:ext>
                  </a:extLst>
                </a:blip>
                <a:stretch>
                  <a:fillRect l="-22459" r="-75391" b="-135794"/>
                </a:stretch>
              </a:blipFill>
              <a:ln cap="sq">
                <a:noFill/>
                <a:prstDash val="solid"/>
                <a:miter/>
              </a:ln>
            </p:spPr>
            <p:txBody>
              <a:bodyPr wrap="square">
                <a:noAutofit/>
              </a:bodyPr>
              <a:lstStyle/>
              <a:p>
                <a:endParaRPr lang="en-US" dirty="0"/>
              </a:p>
            </p:txBody>
          </p:sp>
          <p:sp>
            <p:nvSpPr>
              <p:cNvPr id="26" name="Freeform: Shape 25">
                <a:extLst>
                  <a:ext uri="{FF2B5EF4-FFF2-40B4-BE49-F238E27FC236}">
                    <a16:creationId xmlns:a16="http://schemas.microsoft.com/office/drawing/2014/main" id="{2D4B5D39-66CD-B689-503B-8EEFD0127468}"/>
                  </a:ext>
                </a:extLst>
              </p:cNvPr>
              <p:cNvSpPr/>
              <p:nvPr/>
            </p:nvSpPr>
            <p:spPr>
              <a:xfrm rot="3072000" flipH="1">
                <a:off x="-959346" y="8540564"/>
                <a:ext cx="2405622" cy="2045772"/>
              </a:xfrm>
              <a:custGeom>
                <a:avLst/>
                <a:gdLst>
                  <a:gd name="connsiteX0" fmla="*/ 2405622 w 2405622"/>
                  <a:gd name="connsiteY0" fmla="*/ 0 h 2045772"/>
                  <a:gd name="connsiteX1" fmla="*/ 0 w 2405622"/>
                  <a:gd name="connsiteY1" fmla="*/ 0 h 2045772"/>
                  <a:gd name="connsiteX2" fmla="*/ 0 w 2405622"/>
                  <a:gd name="connsiteY2" fmla="*/ 2045772 h 2045772"/>
                  <a:gd name="connsiteX3" fmla="*/ 319144 w 2405622"/>
                  <a:gd name="connsiteY3" fmla="*/ 2045772 h 2045772"/>
                  <a:gd name="connsiteX4" fmla="*/ 2062766 w 2405622"/>
                  <a:gd name="connsiteY4" fmla="*/ 643864 h 2045772"/>
                  <a:gd name="connsiteX5" fmla="*/ 2405622 w 2405622"/>
                  <a:gd name="connsiteY5" fmla="*/ 1070291 h 2045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5622" h="2045772">
                    <a:moveTo>
                      <a:pt x="2405622" y="0"/>
                    </a:moveTo>
                    <a:lnTo>
                      <a:pt x="0" y="0"/>
                    </a:lnTo>
                    <a:lnTo>
                      <a:pt x="0" y="2045772"/>
                    </a:lnTo>
                    <a:lnTo>
                      <a:pt x="319144" y="2045772"/>
                    </a:lnTo>
                    <a:lnTo>
                      <a:pt x="2062766" y="643864"/>
                    </a:lnTo>
                    <a:lnTo>
                      <a:pt x="2405622" y="1070291"/>
                    </a:lnTo>
                    <a:close/>
                  </a:path>
                </a:pathLst>
              </a:custGeom>
              <a:blipFill>
                <a:blip r:embed="rId2">
                  <a:extLst>
                    <a:ext uri="{96DAC541-7B7A-43D3-8B79-37D633B846F1}">
                      <asvg:svgBlip xmlns:asvg="http://schemas.microsoft.com/office/drawing/2016/SVG/main" r:embed="rId3"/>
                    </a:ext>
                  </a:extLst>
                </a:blip>
                <a:stretch>
                  <a:fillRect l="-22459" r="-75391" b="-132654"/>
                </a:stretch>
              </a:blipFill>
              <a:ln cap="sq">
                <a:noFill/>
                <a:prstDash val="solid"/>
                <a:miter/>
              </a:ln>
            </p:spPr>
            <p:txBody>
              <a:bodyPr wrap="square">
                <a:noAutofit/>
              </a:bodyPr>
              <a:lstStyle/>
              <a:p>
                <a:endParaRPr lang="en-US" dirty="0"/>
              </a:p>
            </p:txBody>
          </p:sp>
          <p:sp>
            <p:nvSpPr>
              <p:cNvPr id="25" name="Freeform: Shape 24">
                <a:extLst>
                  <a:ext uri="{FF2B5EF4-FFF2-40B4-BE49-F238E27FC236}">
                    <a16:creationId xmlns:a16="http://schemas.microsoft.com/office/drawing/2014/main" id="{EADFBC4F-8B40-8FB5-3D8E-6AB0A54976DB}"/>
                  </a:ext>
                </a:extLst>
              </p:cNvPr>
              <p:cNvSpPr/>
              <p:nvPr/>
            </p:nvSpPr>
            <p:spPr>
              <a:xfrm rot="8848597">
                <a:off x="5394495" y="-1499669"/>
                <a:ext cx="2358543" cy="4303756"/>
              </a:xfrm>
              <a:custGeom>
                <a:avLst/>
                <a:gdLst>
                  <a:gd name="connsiteX0" fmla="*/ 1484951 w 2358543"/>
                  <a:gd name="connsiteY0" fmla="*/ 4303756 h 4303756"/>
                  <a:gd name="connsiteX1" fmla="*/ 2021438 w 2358543"/>
                  <a:gd name="connsiteY1" fmla="*/ 3462399 h 4303756"/>
                  <a:gd name="connsiteX2" fmla="*/ 0 w 2358543"/>
                  <a:gd name="connsiteY2" fmla="*/ 2173441 h 4303756"/>
                  <a:gd name="connsiteX3" fmla="*/ 1385883 w 2358543"/>
                  <a:gd name="connsiteY3" fmla="*/ 0 h 4303756"/>
                  <a:gd name="connsiteX4" fmla="*/ 2358543 w 2358543"/>
                  <a:gd name="connsiteY4" fmla="*/ 0 h 4303756"/>
                  <a:gd name="connsiteX5" fmla="*/ 2358543 w 2358543"/>
                  <a:gd name="connsiteY5" fmla="*/ 4303756 h 430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8543" h="4303756">
                    <a:moveTo>
                      <a:pt x="1484951" y="4303756"/>
                    </a:moveTo>
                    <a:lnTo>
                      <a:pt x="2021438" y="3462399"/>
                    </a:lnTo>
                    <a:lnTo>
                      <a:pt x="0" y="2173441"/>
                    </a:lnTo>
                    <a:lnTo>
                      <a:pt x="1385883" y="0"/>
                    </a:lnTo>
                    <a:lnTo>
                      <a:pt x="2358543" y="0"/>
                    </a:lnTo>
                    <a:lnTo>
                      <a:pt x="2358543" y="4303756"/>
                    </a:lnTo>
                    <a:close/>
                  </a:path>
                </a:pathLst>
              </a:custGeom>
              <a:blipFill>
                <a:blip r:embed="rId4">
                  <a:extLst>
                    <a:ext uri="{96DAC541-7B7A-43D3-8B79-37D633B846F1}">
                      <asvg:svgBlip xmlns:asvg="http://schemas.microsoft.com/office/drawing/2016/SVG/main" r:embed="rId5"/>
                    </a:ext>
                  </a:extLst>
                </a:blip>
                <a:stretch>
                  <a:fillRect l="-91977"/>
                </a:stretch>
              </a:blipFill>
            </p:spPr>
            <p:txBody>
              <a:bodyPr wrap="square">
                <a:noAutofit/>
              </a:bodyPr>
              <a:lstStyle/>
              <a:p>
                <a:endParaRPr lang="en-US" dirty="0"/>
              </a:p>
            </p:txBody>
          </p:sp>
          <p:sp>
            <p:nvSpPr>
              <p:cNvPr id="23" name="Freeform: Shape 22">
                <a:extLst>
                  <a:ext uri="{FF2B5EF4-FFF2-40B4-BE49-F238E27FC236}">
                    <a16:creationId xmlns:a16="http://schemas.microsoft.com/office/drawing/2014/main" id="{92FF8576-1B42-D7F7-80FD-C5942AF1B898}"/>
                  </a:ext>
                </a:extLst>
              </p:cNvPr>
              <p:cNvSpPr/>
              <p:nvPr/>
            </p:nvSpPr>
            <p:spPr>
              <a:xfrm rot="-8850000" flipH="1">
                <a:off x="-195530" y="-1500828"/>
                <a:ext cx="2361301" cy="4303756"/>
              </a:xfrm>
              <a:custGeom>
                <a:avLst/>
                <a:gdLst>
                  <a:gd name="connsiteX0" fmla="*/ 1442272 w 2361301"/>
                  <a:gd name="connsiteY0" fmla="*/ 4303756 h 4303756"/>
                  <a:gd name="connsiteX1" fmla="*/ 2361301 w 2361301"/>
                  <a:gd name="connsiteY1" fmla="*/ 4303756 h 4303756"/>
                  <a:gd name="connsiteX2" fmla="*/ 2361301 w 2361301"/>
                  <a:gd name="connsiteY2" fmla="*/ 0 h 4303756"/>
                  <a:gd name="connsiteX3" fmla="*/ 1383502 w 2361301"/>
                  <a:gd name="connsiteY3" fmla="*/ 0 h 4303756"/>
                  <a:gd name="connsiteX4" fmla="*/ 0 w 2361301"/>
                  <a:gd name="connsiteY4" fmla="*/ 2171663 h 4303756"/>
                  <a:gd name="connsiteX5" fmla="*/ 1992067 w 2361301"/>
                  <a:gd name="connsiteY5" fmla="*/ 3440750 h 430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61301" h="4303756">
                    <a:moveTo>
                      <a:pt x="1442272" y="4303756"/>
                    </a:moveTo>
                    <a:lnTo>
                      <a:pt x="2361301" y="4303756"/>
                    </a:lnTo>
                    <a:lnTo>
                      <a:pt x="2361301" y="0"/>
                    </a:lnTo>
                    <a:lnTo>
                      <a:pt x="1383502" y="0"/>
                    </a:lnTo>
                    <a:lnTo>
                      <a:pt x="0" y="2171663"/>
                    </a:lnTo>
                    <a:lnTo>
                      <a:pt x="1992067" y="3440750"/>
                    </a:lnTo>
                    <a:close/>
                  </a:path>
                </a:pathLst>
              </a:custGeom>
              <a:blipFill>
                <a:blip r:embed="rId4">
                  <a:extLst>
                    <a:ext uri="{96DAC541-7B7A-43D3-8B79-37D633B846F1}">
                      <asvg:svgBlip xmlns:asvg="http://schemas.microsoft.com/office/drawing/2016/SVG/main" r:embed="rId5"/>
                    </a:ext>
                  </a:extLst>
                </a:blip>
                <a:stretch>
                  <a:fillRect l="-97400"/>
                </a:stretch>
              </a:blipFill>
            </p:spPr>
            <p:txBody>
              <a:bodyPr wrap="square">
                <a:noAutofit/>
              </a:bodyPr>
              <a:lstStyle/>
              <a:p>
                <a:endParaRPr lang="en-US" dirty="0"/>
              </a:p>
            </p:txBody>
          </p:sp>
        </p:grpSp>
        <p:grpSp>
          <p:nvGrpSpPr>
            <p:cNvPr id="38" name="Group 37">
              <a:extLst>
                <a:ext uri="{FF2B5EF4-FFF2-40B4-BE49-F238E27FC236}">
                  <a16:creationId xmlns:a16="http://schemas.microsoft.com/office/drawing/2014/main" id="{5CA5CA1F-C76C-281A-628E-4EADE4B8A6B2}"/>
                </a:ext>
              </a:extLst>
            </p:cNvPr>
            <p:cNvGrpSpPr/>
            <p:nvPr/>
          </p:nvGrpSpPr>
          <p:grpSpPr>
            <a:xfrm>
              <a:off x="939407" y="717970"/>
              <a:ext cx="5681185" cy="9132291"/>
              <a:chOff x="939407" y="717970"/>
              <a:chExt cx="5681185" cy="9132291"/>
            </a:xfrm>
          </p:grpSpPr>
          <p:sp>
            <p:nvSpPr>
              <p:cNvPr id="3" name="TextBox 3"/>
              <p:cNvSpPr txBox="1"/>
              <p:nvPr/>
            </p:nvSpPr>
            <p:spPr>
              <a:xfrm>
                <a:off x="1107767" y="3060700"/>
                <a:ext cx="5344465" cy="5690605"/>
              </a:xfrm>
              <a:prstGeom prst="rect">
                <a:avLst/>
              </a:prstGeom>
            </p:spPr>
            <p:txBody>
              <a:bodyPr lIns="0" tIns="0" rIns="0" bIns="0" rtlCol="0" anchor="t">
                <a:prstTxWarp prst="textArchDown">
                  <a:avLst/>
                </a:prstTxWarp>
                <a:spAutoFit/>
              </a:bodyPr>
              <a:lstStyle/>
              <a:p>
                <a:pPr algn="ctr">
                  <a:lnSpc>
                    <a:spcPts val="7695"/>
                  </a:lnSpc>
                </a:pPr>
                <a:r>
                  <a:rPr lang="en-US" sz="5497" dirty="0">
                    <a:solidFill>
                      <a:srgbClr val="FFF8F3"/>
                    </a:solidFill>
                    <a:latin typeface="Cormorant Infant"/>
                  </a:rPr>
                  <a:t>ANNA </a:t>
                </a:r>
                <a:r>
                  <a:rPr lang="en-US" sz="5497" i="1" dirty="0">
                    <a:solidFill>
                      <a:srgbClr val="FFF8F3"/>
                    </a:solidFill>
                    <a:latin typeface="Cormorant Infant"/>
                  </a:rPr>
                  <a:t>&amp;</a:t>
                </a:r>
                <a:r>
                  <a:rPr lang="en-US" sz="5497" dirty="0">
                    <a:solidFill>
                      <a:srgbClr val="FFF8F3"/>
                    </a:solidFill>
                    <a:latin typeface="Cormorant Infant"/>
                  </a:rPr>
                  <a:t> THOMAS</a:t>
                </a:r>
              </a:p>
            </p:txBody>
          </p:sp>
          <p:sp>
            <p:nvSpPr>
              <p:cNvPr id="2" name="TextBox 2"/>
              <p:cNvSpPr txBox="1"/>
              <p:nvPr/>
            </p:nvSpPr>
            <p:spPr>
              <a:xfrm>
                <a:off x="939407" y="1746734"/>
                <a:ext cx="5681185" cy="7211424"/>
              </a:xfrm>
              <a:prstGeom prst="rect">
                <a:avLst/>
              </a:prstGeom>
            </p:spPr>
            <p:txBody>
              <a:bodyPr lIns="0" tIns="0" rIns="0" bIns="0" rtlCol="0" anchor="t">
                <a:prstTxWarp prst="textArchUp">
                  <a:avLst>
                    <a:gd name="adj" fmla="val 10052643"/>
                  </a:avLst>
                </a:prstTxWarp>
                <a:spAutoFit/>
              </a:bodyPr>
              <a:lstStyle/>
              <a:p>
                <a:pPr algn="ctr">
                  <a:lnSpc>
                    <a:spcPts val="7695"/>
                  </a:lnSpc>
                </a:pPr>
                <a:r>
                  <a:rPr lang="en-US" sz="5497" dirty="0">
                    <a:solidFill>
                      <a:srgbClr val="FFF8F3"/>
                    </a:solidFill>
                    <a:latin typeface="Cormorant Infant"/>
                  </a:rPr>
                  <a:t>WEDDING BOOKLET</a:t>
                </a:r>
              </a:p>
            </p:txBody>
          </p:sp>
          <p:grpSp>
            <p:nvGrpSpPr>
              <p:cNvPr id="36" name="Group 35">
                <a:extLst>
                  <a:ext uri="{FF2B5EF4-FFF2-40B4-BE49-F238E27FC236}">
                    <a16:creationId xmlns:a16="http://schemas.microsoft.com/office/drawing/2014/main" id="{0F840D2A-370F-99EA-4C7A-6F29CD5AC2F2}"/>
                  </a:ext>
                </a:extLst>
              </p:cNvPr>
              <p:cNvGrpSpPr/>
              <p:nvPr/>
            </p:nvGrpSpPr>
            <p:grpSpPr>
              <a:xfrm>
                <a:off x="1895224" y="2341567"/>
                <a:ext cx="3769550" cy="5603426"/>
                <a:chOff x="1895224" y="2341567"/>
                <a:chExt cx="3769550" cy="5603426"/>
              </a:xfrm>
            </p:grpSpPr>
            <p:sp>
              <p:nvSpPr>
                <p:cNvPr id="5" name="Freeform 5"/>
                <p:cNvSpPr/>
                <p:nvPr/>
              </p:nvSpPr>
              <p:spPr>
                <a:xfrm>
                  <a:off x="1896937" y="2341567"/>
                  <a:ext cx="3766125" cy="5603426"/>
                </a:xfrm>
                <a:custGeom>
                  <a:avLst/>
                  <a:gdLst/>
                  <a:ahLst/>
                  <a:cxnLst/>
                  <a:rect l="l" t="t" r="r" b="b"/>
                  <a:pathLst>
                    <a:path w="3072892" h="4572000">
                      <a:moveTo>
                        <a:pt x="3072892" y="2286000"/>
                      </a:moveTo>
                      <a:cubicBezTo>
                        <a:pt x="3072892" y="3548507"/>
                        <a:pt x="2385060" y="4572000"/>
                        <a:pt x="1536446" y="4572000"/>
                      </a:cubicBezTo>
                      <a:cubicBezTo>
                        <a:pt x="687832" y="4572000"/>
                        <a:pt x="0" y="3548507"/>
                        <a:pt x="0" y="2286000"/>
                      </a:cubicBezTo>
                      <a:cubicBezTo>
                        <a:pt x="0" y="1023493"/>
                        <a:pt x="687832" y="0"/>
                        <a:pt x="1536446" y="0"/>
                      </a:cubicBezTo>
                      <a:cubicBezTo>
                        <a:pt x="2385060" y="0"/>
                        <a:pt x="3072892" y="1023493"/>
                        <a:pt x="3072892" y="2286000"/>
                      </a:cubicBezTo>
                      <a:close/>
                    </a:path>
                  </a:pathLst>
                </a:custGeom>
                <a:blipFill>
                  <a:blip r:embed="rId6"/>
                  <a:stretch>
                    <a:fillRect l="-49503" r="-73395"/>
                  </a:stretch>
                </a:blipFill>
              </p:spPr>
              <p:txBody>
                <a:bodyPr/>
                <a:lstStyle/>
                <a:p>
                  <a:endParaRPr lang="en-US" dirty="0"/>
                </a:p>
              </p:txBody>
            </p:sp>
            <p:sp>
              <p:nvSpPr>
                <p:cNvPr id="6" name="Freeform 6"/>
                <p:cNvSpPr/>
                <p:nvPr/>
              </p:nvSpPr>
              <p:spPr>
                <a:xfrm>
                  <a:off x="1895224" y="2346548"/>
                  <a:ext cx="3769550" cy="5598445"/>
                </a:xfrm>
                <a:custGeom>
                  <a:avLst/>
                  <a:gdLst/>
                  <a:ahLst/>
                  <a:cxnLst/>
                  <a:rect l="l" t="t" r="r" b="b"/>
                  <a:pathLst>
                    <a:path w="3075686" h="4567936">
                      <a:moveTo>
                        <a:pt x="3075686" y="4567936"/>
                      </a:moveTo>
                      <a:lnTo>
                        <a:pt x="0" y="4567936"/>
                      </a:lnTo>
                      <a:lnTo>
                        <a:pt x="0" y="0"/>
                      </a:lnTo>
                      <a:lnTo>
                        <a:pt x="3075686" y="0"/>
                      </a:lnTo>
                      <a:lnTo>
                        <a:pt x="3075686" y="4567936"/>
                      </a:lnTo>
                      <a:close/>
                    </a:path>
                  </a:pathLst>
                </a:custGeom>
                <a:blipFill>
                  <a:blip r:embed="rId7"/>
                  <a:stretch>
                    <a:fillRect l="-31" r="-31"/>
                  </a:stretch>
                </a:blipFill>
              </p:spPr>
              <p:txBody>
                <a:bodyPr/>
                <a:lstStyle/>
                <a:p>
                  <a:endParaRPr lang="en-US" dirty="0"/>
                </a:p>
              </p:txBody>
            </p:sp>
          </p:grpSp>
          <p:sp>
            <p:nvSpPr>
              <p:cNvPr id="7" name="TextBox 7"/>
              <p:cNvSpPr txBox="1"/>
              <p:nvPr/>
            </p:nvSpPr>
            <p:spPr>
              <a:xfrm>
                <a:off x="2376226" y="717970"/>
                <a:ext cx="2807548" cy="306704"/>
              </a:xfrm>
              <a:prstGeom prst="rect">
                <a:avLst/>
              </a:prstGeom>
            </p:spPr>
            <p:txBody>
              <a:bodyPr lIns="0" tIns="0" rIns="0" bIns="0" rtlCol="0" anchor="t">
                <a:spAutoFit/>
              </a:bodyPr>
              <a:lstStyle/>
              <a:p>
                <a:pPr algn="ctr">
                  <a:lnSpc>
                    <a:spcPts val="2520"/>
                  </a:lnSpc>
                </a:pPr>
                <a:r>
                  <a:rPr lang="en-US" sz="1800" dirty="0">
                    <a:solidFill>
                      <a:srgbClr val="FFF8F3"/>
                    </a:solidFill>
                    <a:latin typeface="Cormorant Infant Medium"/>
                  </a:rPr>
                  <a:t>OCT 15, 2023</a:t>
                </a:r>
              </a:p>
            </p:txBody>
          </p:sp>
          <p:sp>
            <p:nvSpPr>
              <p:cNvPr id="8" name="TextBox 8"/>
              <p:cNvSpPr txBox="1"/>
              <p:nvPr/>
            </p:nvSpPr>
            <p:spPr>
              <a:xfrm>
                <a:off x="1552555" y="9376997"/>
                <a:ext cx="4454889" cy="473264"/>
              </a:xfrm>
              <a:prstGeom prst="rect">
                <a:avLst/>
              </a:prstGeom>
            </p:spPr>
            <p:txBody>
              <a:bodyPr lIns="0" tIns="0" rIns="0" bIns="0" rtlCol="0" anchor="t">
                <a:spAutoFit/>
              </a:bodyPr>
              <a:lstStyle/>
              <a:p>
                <a:pPr algn="ctr">
                  <a:lnSpc>
                    <a:spcPts val="1219"/>
                  </a:lnSpc>
                </a:pPr>
                <a:r>
                  <a:rPr lang="en-US" sz="999" dirty="0">
                    <a:solidFill>
                      <a:srgbClr val="FFF8F3"/>
                    </a:solidFill>
                    <a:latin typeface="Ovo"/>
                  </a:rPr>
                  <a:t>In life's tapestry, love intertwines enchanting threads, uniting souls in </a:t>
                </a:r>
              </a:p>
              <a:p>
                <a:pPr algn="ctr">
                  <a:lnSpc>
                    <a:spcPts val="1219"/>
                  </a:lnSpc>
                </a:pPr>
                <a:r>
                  <a:rPr lang="en-US" sz="999" dirty="0">
                    <a:solidFill>
                      <a:srgbClr val="FFF8F3"/>
                    </a:solidFill>
                    <a:latin typeface="Ovo"/>
                  </a:rPr>
                  <a:t>eternal joy. Today, we celebrate love's magic, transcending time, shaping </a:t>
                </a:r>
              </a:p>
              <a:p>
                <a:pPr marL="0" lvl="0" indent="0" algn="ctr">
                  <a:lnSpc>
                    <a:spcPts val="1219"/>
                  </a:lnSpc>
                  <a:spcBef>
                    <a:spcPct val="0"/>
                  </a:spcBef>
                </a:pPr>
                <a:r>
                  <a:rPr lang="en-US" sz="999" dirty="0">
                    <a:solidFill>
                      <a:srgbClr val="FFF8F3"/>
                    </a:solidFill>
                    <a:latin typeface="Ovo"/>
                  </a:rPr>
                  <a:t>a future adorned with shared dreams and unwavering commitment</a:t>
                </a:r>
              </a:p>
            </p:txBody>
          </p:sp>
        </p:grpSp>
        <p:sp>
          <p:nvSpPr>
            <p:cNvPr id="13" name="TemplateLAB"/>
            <p:cNvSpPr/>
            <p:nvPr/>
          </p:nvSpPr>
          <p:spPr>
            <a:xfrm>
              <a:off x="3413970" y="10269100"/>
              <a:ext cx="732059" cy="120790"/>
            </a:xfrm>
            <a:custGeom>
              <a:avLst/>
              <a:gdLst/>
              <a:ahLst/>
              <a:cxnLst/>
              <a:rect l="l" t="t" r="r" b="b"/>
              <a:pathLst>
                <a:path w="732059" h="120790">
                  <a:moveTo>
                    <a:pt x="0" y="0"/>
                  </a:moveTo>
                  <a:lnTo>
                    <a:pt x="732060" y="0"/>
                  </a:lnTo>
                  <a:lnTo>
                    <a:pt x="732060" y="120790"/>
                  </a:lnTo>
                  <a:lnTo>
                    <a:pt x="0" y="12079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dirty="0"/>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F8F3"/>
        </a:solidFill>
        <a:effectLst/>
      </p:bgPr>
    </p:bg>
    <p:spTree>
      <p:nvGrpSpPr>
        <p:cNvPr id="1" name=""/>
        <p:cNvGrpSpPr/>
        <p:nvPr/>
      </p:nvGrpSpPr>
      <p:grpSpPr>
        <a:xfrm>
          <a:off x="0" y="0"/>
          <a:ext cx="0" cy="0"/>
          <a:chOff x="0" y="0"/>
          <a:chExt cx="0" cy="0"/>
        </a:xfrm>
      </p:grpSpPr>
      <p:grpSp>
        <p:nvGrpSpPr>
          <p:cNvPr id="20" name="Group 4 - Page 2">
            <a:extLst>
              <a:ext uri="{FF2B5EF4-FFF2-40B4-BE49-F238E27FC236}">
                <a16:creationId xmlns:a16="http://schemas.microsoft.com/office/drawing/2014/main" id="{41D96B8B-EC36-6B24-2B6E-992065D185F2}"/>
              </a:ext>
            </a:extLst>
          </p:cNvPr>
          <p:cNvGrpSpPr/>
          <p:nvPr/>
        </p:nvGrpSpPr>
        <p:grpSpPr>
          <a:xfrm>
            <a:off x="756000" y="758017"/>
            <a:ext cx="6876721" cy="10269020"/>
            <a:chOff x="756000" y="758017"/>
            <a:chExt cx="6876721" cy="10269020"/>
          </a:xfrm>
        </p:grpSpPr>
        <p:sp>
          <p:nvSpPr>
            <p:cNvPr id="11" name="Freeform: Shape 10">
              <a:extLst>
                <a:ext uri="{FF2B5EF4-FFF2-40B4-BE49-F238E27FC236}">
                  <a16:creationId xmlns:a16="http://schemas.microsoft.com/office/drawing/2014/main" id="{793F9249-2911-7A77-8101-ECC213D3AC00}"/>
                </a:ext>
              </a:extLst>
            </p:cNvPr>
            <p:cNvSpPr/>
            <p:nvPr/>
          </p:nvSpPr>
          <p:spPr>
            <a:xfrm rot="-1333936" flipH="1">
              <a:off x="5474252" y="7124076"/>
              <a:ext cx="2158469" cy="3902961"/>
            </a:xfrm>
            <a:custGeom>
              <a:avLst/>
              <a:gdLst>
                <a:gd name="connsiteX0" fmla="*/ 0 w 2158469"/>
                <a:gd name="connsiteY0" fmla="*/ 0 h 3902961"/>
                <a:gd name="connsiteX1" fmla="*/ 0 w 2158469"/>
                <a:gd name="connsiteY1" fmla="*/ 3902961 h 3902961"/>
                <a:gd name="connsiteX2" fmla="*/ 841353 w 2158469"/>
                <a:gd name="connsiteY2" fmla="*/ 3902961 h 3902961"/>
                <a:gd name="connsiteX3" fmla="*/ 804064 w 2158469"/>
                <a:gd name="connsiteY3" fmla="*/ 3811734 h 3902961"/>
                <a:gd name="connsiteX4" fmla="*/ 2158469 w 2158469"/>
                <a:gd name="connsiteY4" fmla="*/ 3258121 h 3902961"/>
                <a:gd name="connsiteX5" fmla="*/ 2158469 w 2158469"/>
                <a:gd name="connsiteY5" fmla="*/ 0 h 3902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8469" h="3902961">
                  <a:moveTo>
                    <a:pt x="0" y="0"/>
                  </a:moveTo>
                  <a:lnTo>
                    <a:pt x="0" y="3902961"/>
                  </a:lnTo>
                  <a:lnTo>
                    <a:pt x="841353" y="3902961"/>
                  </a:lnTo>
                  <a:lnTo>
                    <a:pt x="804064" y="3811734"/>
                  </a:lnTo>
                  <a:lnTo>
                    <a:pt x="2158469" y="3258121"/>
                  </a:lnTo>
                  <a:lnTo>
                    <a:pt x="2158469" y="0"/>
                  </a:lnTo>
                  <a:close/>
                </a:path>
              </a:pathLst>
            </a:custGeom>
            <a:blipFill>
              <a:blip r:embed="rId2">
                <a:extLst>
                  <a:ext uri="{96DAC541-7B7A-43D3-8B79-37D633B846F1}">
                    <asvg:svgBlip xmlns:asvg="http://schemas.microsoft.com/office/drawing/2016/SVG/main" r:embed="rId3"/>
                  </a:ext>
                </a:extLst>
              </a:blip>
              <a:stretch>
                <a:fillRect r="-89322" b="-4702"/>
              </a:stretch>
            </a:blipFill>
            <a:ln cap="sq">
              <a:noFill/>
              <a:prstDash val="solid"/>
              <a:miter/>
            </a:ln>
          </p:spPr>
          <p:txBody>
            <a:bodyPr wrap="square">
              <a:noAutofit/>
            </a:bodyPr>
            <a:lstStyle/>
            <a:p>
              <a:endParaRPr lang="en-US" dirty="0"/>
            </a:p>
          </p:txBody>
        </p:sp>
        <p:sp>
          <p:nvSpPr>
            <p:cNvPr id="4" name="TextBox 4"/>
            <p:cNvSpPr txBox="1"/>
            <p:nvPr/>
          </p:nvSpPr>
          <p:spPr>
            <a:xfrm rot="5400000">
              <a:off x="5436603" y="2091346"/>
              <a:ext cx="2434167" cy="207301"/>
            </a:xfrm>
            <a:prstGeom prst="rect">
              <a:avLst/>
            </a:prstGeom>
          </p:spPr>
          <p:txBody>
            <a:bodyPr lIns="0" tIns="0" rIns="0" bIns="0" rtlCol="0" anchor="t">
              <a:spAutoFit/>
            </a:bodyPr>
            <a:lstStyle/>
            <a:p>
              <a:pPr marL="0" lvl="1" indent="0">
                <a:lnSpc>
                  <a:spcPts val="1679"/>
                </a:lnSpc>
                <a:spcBef>
                  <a:spcPct val="0"/>
                </a:spcBef>
              </a:pPr>
              <a:r>
                <a:rPr lang="en-US" sz="1200" spc="306" dirty="0">
                  <a:solidFill>
                    <a:srgbClr val="923939"/>
                  </a:solidFill>
                  <a:latin typeface="Cormorant Infant" pitchFamily="2" charset="0"/>
                </a:rPr>
                <a:t>OCT 15, 2023</a:t>
              </a:r>
            </a:p>
          </p:txBody>
        </p:sp>
        <p:grpSp>
          <p:nvGrpSpPr>
            <p:cNvPr id="19" name="Group 18">
              <a:extLst>
                <a:ext uri="{FF2B5EF4-FFF2-40B4-BE49-F238E27FC236}">
                  <a16:creationId xmlns:a16="http://schemas.microsoft.com/office/drawing/2014/main" id="{9E2D8A89-00F8-012A-CDE3-2F3FD96A2EB0}"/>
                </a:ext>
              </a:extLst>
            </p:cNvPr>
            <p:cNvGrpSpPr/>
            <p:nvPr/>
          </p:nvGrpSpPr>
          <p:grpSpPr>
            <a:xfrm>
              <a:off x="756000" y="758017"/>
              <a:ext cx="4040014" cy="8456359"/>
              <a:chOff x="756000" y="758017"/>
              <a:chExt cx="4040014" cy="8456359"/>
            </a:xfrm>
          </p:grpSpPr>
          <p:sp>
            <p:nvSpPr>
              <p:cNvPr id="3" name="TextBox 3"/>
              <p:cNvSpPr txBox="1"/>
              <p:nvPr/>
            </p:nvSpPr>
            <p:spPr>
              <a:xfrm>
                <a:off x="756000" y="758017"/>
                <a:ext cx="4040014" cy="1733550"/>
              </a:xfrm>
              <a:prstGeom prst="rect">
                <a:avLst/>
              </a:prstGeom>
            </p:spPr>
            <p:txBody>
              <a:bodyPr lIns="0" tIns="0" rIns="0" bIns="0" rtlCol="0" anchor="t">
                <a:spAutoFit/>
              </a:bodyPr>
              <a:lstStyle/>
              <a:p>
                <a:pPr marL="0" lvl="0" indent="0">
                  <a:lnSpc>
                    <a:spcPts val="6846"/>
                  </a:lnSpc>
                </a:pPr>
                <a:r>
                  <a:rPr lang="en-US" sz="5700" dirty="0">
                    <a:solidFill>
                      <a:srgbClr val="923939"/>
                    </a:solidFill>
                    <a:latin typeface="Cormorant Infant" pitchFamily="2" charset="0"/>
                  </a:rPr>
                  <a:t>A JOURNEY OF LOVE.</a:t>
                </a:r>
              </a:p>
            </p:txBody>
          </p:sp>
          <p:grpSp>
            <p:nvGrpSpPr>
              <p:cNvPr id="18" name="Group 17">
                <a:extLst>
                  <a:ext uri="{FF2B5EF4-FFF2-40B4-BE49-F238E27FC236}">
                    <a16:creationId xmlns:a16="http://schemas.microsoft.com/office/drawing/2014/main" id="{A6849854-5C7B-8E03-0B45-4C895E18FA58}"/>
                  </a:ext>
                </a:extLst>
              </p:cNvPr>
              <p:cNvGrpSpPr/>
              <p:nvPr/>
            </p:nvGrpSpPr>
            <p:grpSpPr>
              <a:xfrm>
                <a:off x="756000" y="2950512"/>
                <a:ext cx="4040014" cy="1418374"/>
                <a:chOff x="756000" y="2950512"/>
                <a:chExt cx="4040014" cy="1418374"/>
              </a:xfrm>
            </p:grpSpPr>
            <p:sp>
              <p:nvSpPr>
                <p:cNvPr id="6" name="TextBox 6"/>
                <p:cNvSpPr txBox="1"/>
                <p:nvPr/>
              </p:nvSpPr>
              <p:spPr>
                <a:xfrm>
                  <a:off x="756000" y="3300901"/>
                  <a:ext cx="4040014" cy="1067985"/>
                </a:xfrm>
                <a:prstGeom prst="rect">
                  <a:avLst/>
                </a:prstGeom>
              </p:spPr>
              <p:txBody>
                <a:bodyPr lIns="0" tIns="0" rIns="0" bIns="0" rtlCol="0" anchor="t">
                  <a:spAutoFit/>
                </a:bodyPr>
                <a:lstStyle/>
                <a:p>
                  <a:pPr algn="just">
                    <a:lnSpc>
                      <a:spcPts val="1400"/>
                    </a:lnSpc>
                  </a:pPr>
                  <a:r>
                    <a:rPr lang="en-US" sz="1000" dirty="0">
                      <a:solidFill>
                        <a:srgbClr val="1A2F3A"/>
                      </a:solidFill>
                      <a:latin typeface="Ovo"/>
                    </a:rPr>
                    <a:t>In the bustling city where fate often intertwines lives, we encountered each other in the most serendipitous manner. A chance meeting at a local cafe sparked a conversation that resonated with laughter and shared interests. Little did we know that initial encounter would blossom into a profound connection, leading us down the path of love and companionship.</a:t>
                  </a:r>
                </a:p>
              </p:txBody>
            </p:sp>
            <p:sp>
              <p:nvSpPr>
                <p:cNvPr id="7" name="TextBox 7"/>
                <p:cNvSpPr txBox="1"/>
                <p:nvPr/>
              </p:nvSpPr>
              <p:spPr>
                <a:xfrm>
                  <a:off x="756000" y="2950512"/>
                  <a:ext cx="4040014" cy="306109"/>
                </a:xfrm>
                <a:prstGeom prst="rect">
                  <a:avLst/>
                </a:prstGeom>
              </p:spPr>
              <p:txBody>
                <a:bodyPr lIns="0" tIns="0" rIns="0" bIns="0" rtlCol="0" anchor="t">
                  <a:spAutoFit/>
                </a:bodyPr>
                <a:lstStyle/>
                <a:p>
                  <a:pPr>
                    <a:lnSpc>
                      <a:spcPts val="2519"/>
                    </a:lnSpc>
                  </a:pPr>
                  <a:r>
                    <a:rPr lang="en-US" sz="1799" dirty="0">
                      <a:solidFill>
                        <a:srgbClr val="923939"/>
                      </a:solidFill>
                      <a:latin typeface="Cormorant Infant" pitchFamily="2" charset="0"/>
                    </a:rPr>
                    <a:t>Our Serendipitous Encounter</a:t>
                  </a:r>
                </a:p>
              </p:txBody>
            </p:sp>
          </p:grpSp>
          <p:grpSp>
            <p:nvGrpSpPr>
              <p:cNvPr id="17" name="Group 16">
                <a:extLst>
                  <a:ext uri="{FF2B5EF4-FFF2-40B4-BE49-F238E27FC236}">
                    <a16:creationId xmlns:a16="http://schemas.microsoft.com/office/drawing/2014/main" id="{CC5C6507-C196-76A4-6225-82D1F0AAEB5F}"/>
                  </a:ext>
                </a:extLst>
              </p:cNvPr>
              <p:cNvGrpSpPr/>
              <p:nvPr/>
            </p:nvGrpSpPr>
            <p:grpSpPr>
              <a:xfrm>
                <a:off x="756000" y="4791721"/>
                <a:ext cx="4040014" cy="1210814"/>
                <a:chOff x="756000" y="4791720"/>
                <a:chExt cx="4040014" cy="1210814"/>
              </a:xfrm>
            </p:grpSpPr>
            <p:sp>
              <p:nvSpPr>
                <p:cNvPr id="9" name="TextBox 9"/>
                <p:cNvSpPr txBox="1"/>
                <p:nvPr/>
              </p:nvSpPr>
              <p:spPr>
                <a:xfrm>
                  <a:off x="756000" y="5142109"/>
                  <a:ext cx="4040014" cy="860425"/>
                </a:xfrm>
                <a:prstGeom prst="rect">
                  <a:avLst/>
                </a:prstGeom>
              </p:spPr>
              <p:txBody>
                <a:bodyPr lIns="0" tIns="0" rIns="0" bIns="0" rtlCol="0" anchor="t">
                  <a:spAutoFit/>
                </a:bodyPr>
                <a:lstStyle/>
                <a:p>
                  <a:pPr marL="0" lvl="0" indent="0" algn="just">
                    <a:lnSpc>
                      <a:spcPts val="1400"/>
                    </a:lnSpc>
                    <a:spcBef>
                      <a:spcPct val="0"/>
                    </a:spcBef>
                  </a:pPr>
                  <a:r>
                    <a:rPr lang="en-US" sz="1000" u="none" strike="noStrike" dirty="0">
                      <a:solidFill>
                        <a:srgbClr val="1A2F3A"/>
                      </a:solidFill>
                      <a:latin typeface="Ovo"/>
                    </a:rPr>
                    <a:t>With hearts intertwined and a journey filled with cherished memories, the day of our engagement stands out as a highlight in our love story. Underneath the starlit sky, surrounded by the enchanting glow of candlelight, a heartfelt proposal unfolded, forever etching a moment of joy, commitment, and the promise of a shared future.</a:t>
                  </a:r>
                </a:p>
              </p:txBody>
            </p:sp>
            <p:sp>
              <p:nvSpPr>
                <p:cNvPr id="10" name="TextBox 10"/>
                <p:cNvSpPr txBox="1"/>
                <p:nvPr/>
              </p:nvSpPr>
              <p:spPr>
                <a:xfrm>
                  <a:off x="756000" y="4791720"/>
                  <a:ext cx="4040014" cy="306109"/>
                </a:xfrm>
                <a:prstGeom prst="rect">
                  <a:avLst/>
                </a:prstGeom>
              </p:spPr>
              <p:txBody>
                <a:bodyPr lIns="0" tIns="0" rIns="0" bIns="0" rtlCol="0" anchor="t">
                  <a:spAutoFit/>
                </a:bodyPr>
                <a:lstStyle/>
                <a:p>
                  <a:pPr>
                    <a:lnSpc>
                      <a:spcPts val="2519"/>
                    </a:lnSpc>
                  </a:pPr>
                  <a:r>
                    <a:rPr lang="en-US" sz="1799" dirty="0">
                      <a:solidFill>
                        <a:srgbClr val="923939"/>
                      </a:solidFill>
                      <a:latin typeface="Cormorant Infant" pitchFamily="2" charset="0"/>
                    </a:rPr>
                    <a:t>The Unforgettable Proposal</a:t>
                  </a:r>
                </a:p>
              </p:txBody>
            </p:sp>
          </p:grpSp>
          <p:grpSp>
            <p:nvGrpSpPr>
              <p:cNvPr id="16" name="Group 15">
                <a:extLst>
                  <a:ext uri="{FF2B5EF4-FFF2-40B4-BE49-F238E27FC236}">
                    <a16:creationId xmlns:a16="http://schemas.microsoft.com/office/drawing/2014/main" id="{22B01001-AF6D-8D71-80C1-5877B2A3DF27}"/>
                  </a:ext>
                </a:extLst>
              </p:cNvPr>
              <p:cNvGrpSpPr/>
              <p:nvPr/>
            </p:nvGrpSpPr>
            <p:grpSpPr>
              <a:xfrm>
                <a:off x="756000" y="6461479"/>
                <a:ext cx="4040014" cy="1553714"/>
                <a:chOff x="756000" y="6461479"/>
                <a:chExt cx="4040014" cy="1553714"/>
              </a:xfrm>
            </p:grpSpPr>
            <p:sp>
              <p:nvSpPr>
                <p:cNvPr id="12" name="TextBox 12"/>
                <p:cNvSpPr txBox="1"/>
                <p:nvPr/>
              </p:nvSpPr>
              <p:spPr>
                <a:xfrm>
                  <a:off x="756000" y="6811868"/>
                  <a:ext cx="4040014" cy="1203325"/>
                </a:xfrm>
                <a:prstGeom prst="rect">
                  <a:avLst/>
                </a:prstGeom>
              </p:spPr>
              <p:txBody>
                <a:bodyPr lIns="0" tIns="0" rIns="0" bIns="0" rtlCol="0" anchor="t">
                  <a:spAutoFit/>
                </a:bodyPr>
                <a:lstStyle/>
                <a:p>
                  <a:pPr marL="0" lvl="0" indent="0" algn="just">
                    <a:lnSpc>
                      <a:spcPts val="1400"/>
                    </a:lnSpc>
                    <a:spcBef>
                      <a:spcPct val="0"/>
                    </a:spcBef>
                  </a:pPr>
                  <a:r>
                    <a:rPr lang="en-US" sz="1000" u="none" strike="noStrike" dirty="0">
                      <a:solidFill>
                        <a:srgbClr val="1A2F3A"/>
                      </a:solidFill>
                      <a:latin typeface="Ovo"/>
                    </a:rPr>
                    <a:t>As we embark on this joyous journey together, we invite you to be a part of our love story. Join us in celebrating the union of Anna and Thomas, as we exchange vows and pledge our love in the presence of cherished friends and family. Your presence will add to the magic of this day, making it a celebration to remember and a testament to the enduring power of love. Let's create lasting memories and mark the beginning of our new chapter.</a:t>
                  </a:r>
                </a:p>
              </p:txBody>
            </p:sp>
            <p:sp>
              <p:nvSpPr>
                <p:cNvPr id="13" name="TextBox 13"/>
                <p:cNvSpPr txBox="1"/>
                <p:nvPr/>
              </p:nvSpPr>
              <p:spPr>
                <a:xfrm>
                  <a:off x="756000" y="6461479"/>
                  <a:ext cx="4040014" cy="306109"/>
                </a:xfrm>
                <a:prstGeom prst="rect">
                  <a:avLst/>
                </a:prstGeom>
              </p:spPr>
              <p:txBody>
                <a:bodyPr lIns="0" tIns="0" rIns="0" bIns="0" rtlCol="0" anchor="t">
                  <a:spAutoFit/>
                </a:bodyPr>
                <a:lstStyle/>
                <a:p>
                  <a:pPr>
                    <a:lnSpc>
                      <a:spcPts val="2519"/>
                    </a:lnSpc>
                  </a:pPr>
                  <a:r>
                    <a:rPr lang="en-US" sz="1799" dirty="0">
                      <a:solidFill>
                        <a:srgbClr val="923939"/>
                      </a:solidFill>
                      <a:latin typeface="Cormorant Infant" pitchFamily="2" charset="0"/>
                    </a:rPr>
                    <a:t>A Love Story Worth Celebrating</a:t>
                  </a:r>
                </a:p>
              </p:txBody>
            </p:sp>
          </p:grpSp>
          <p:sp>
            <p:nvSpPr>
              <p:cNvPr id="14" name="TextBox 14"/>
              <p:cNvSpPr txBox="1"/>
              <p:nvPr/>
            </p:nvSpPr>
            <p:spPr>
              <a:xfrm>
                <a:off x="1887251" y="8329518"/>
                <a:ext cx="2908763" cy="884858"/>
              </a:xfrm>
              <a:prstGeom prst="rect">
                <a:avLst/>
              </a:prstGeom>
            </p:spPr>
            <p:txBody>
              <a:bodyPr lIns="0" tIns="0" rIns="0" bIns="0" rtlCol="0" anchor="t">
                <a:spAutoFit/>
              </a:bodyPr>
              <a:lstStyle/>
              <a:p>
                <a:pPr algn="r">
                  <a:lnSpc>
                    <a:spcPts val="6940"/>
                  </a:lnSpc>
                </a:pPr>
                <a:r>
                  <a:rPr lang="en-US" sz="4350" dirty="0">
                    <a:solidFill>
                      <a:srgbClr val="923939"/>
                    </a:solidFill>
                    <a:latin typeface="Mrs Saint Delafield"/>
                  </a:rPr>
                  <a:t>Anna &amp; Thomas</a:t>
                </a:r>
              </a:p>
            </p:txBody>
          </p:sp>
        </p:grpSp>
        <p:sp>
          <p:nvSpPr>
            <p:cNvPr id="15" name="TemplateLAB"/>
            <p:cNvSpPr/>
            <p:nvPr/>
          </p:nvSpPr>
          <p:spPr>
            <a:xfrm rot="5400000">
              <a:off x="6278132" y="2837273"/>
              <a:ext cx="732059" cy="120790"/>
            </a:xfrm>
            <a:custGeom>
              <a:avLst/>
              <a:gdLst/>
              <a:ahLst/>
              <a:cxnLst/>
              <a:rect l="l" t="t" r="r" b="b"/>
              <a:pathLst>
                <a:path w="732059" h="120790">
                  <a:moveTo>
                    <a:pt x="0" y="0"/>
                  </a:moveTo>
                  <a:lnTo>
                    <a:pt x="732059" y="0"/>
                  </a:lnTo>
                  <a:lnTo>
                    <a:pt x="732059" y="120790"/>
                  </a:lnTo>
                  <a:lnTo>
                    <a:pt x="0" y="12079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dirty="0"/>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FF8F3"/>
        </a:solidFill>
        <a:effectLst/>
      </p:bgPr>
    </p:bg>
    <p:spTree>
      <p:nvGrpSpPr>
        <p:cNvPr id="1" name=""/>
        <p:cNvGrpSpPr/>
        <p:nvPr/>
      </p:nvGrpSpPr>
      <p:grpSpPr>
        <a:xfrm>
          <a:off x="0" y="0"/>
          <a:ext cx="0" cy="0"/>
          <a:chOff x="0" y="0"/>
          <a:chExt cx="0" cy="0"/>
        </a:xfrm>
      </p:grpSpPr>
      <p:grpSp>
        <p:nvGrpSpPr>
          <p:cNvPr id="35" name="Group 4 - Page 3">
            <a:extLst>
              <a:ext uri="{FF2B5EF4-FFF2-40B4-BE49-F238E27FC236}">
                <a16:creationId xmlns:a16="http://schemas.microsoft.com/office/drawing/2014/main" id="{B68ACD8E-849A-B882-7B5E-65421EF4BE4E}"/>
              </a:ext>
            </a:extLst>
          </p:cNvPr>
          <p:cNvGrpSpPr/>
          <p:nvPr/>
        </p:nvGrpSpPr>
        <p:grpSpPr>
          <a:xfrm>
            <a:off x="756000" y="297274"/>
            <a:ext cx="7148779" cy="9605595"/>
            <a:chOff x="756000" y="297274"/>
            <a:chExt cx="7148779" cy="9605595"/>
          </a:xfrm>
        </p:grpSpPr>
        <p:sp>
          <p:nvSpPr>
            <p:cNvPr id="8" name="Freeform: Shape 7">
              <a:extLst>
                <a:ext uri="{FF2B5EF4-FFF2-40B4-BE49-F238E27FC236}">
                  <a16:creationId xmlns:a16="http://schemas.microsoft.com/office/drawing/2014/main" id="{05B7D8F8-4606-F98D-0685-4CA0244A816E}"/>
                </a:ext>
              </a:extLst>
            </p:cNvPr>
            <p:cNvSpPr/>
            <p:nvPr/>
          </p:nvSpPr>
          <p:spPr>
            <a:xfrm rot="12762813">
              <a:off x="4922519" y="297274"/>
              <a:ext cx="2982260" cy="6406034"/>
            </a:xfrm>
            <a:custGeom>
              <a:avLst/>
              <a:gdLst>
                <a:gd name="connsiteX0" fmla="*/ 2982260 w 2982260"/>
                <a:gd name="connsiteY0" fmla="*/ 6406034 h 6406034"/>
                <a:gd name="connsiteX1" fmla="*/ 2186989 w 2982260"/>
                <a:gd name="connsiteY1" fmla="*/ 6406034 h 6406034"/>
                <a:gd name="connsiteX2" fmla="*/ 2189262 w 2982260"/>
                <a:gd name="connsiteY2" fmla="*/ 6404574 h 6406034"/>
                <a:gd name="connsiteX3" fmla="*/ 473258 w 2982260"/>
                <a:gd name="connsiteY3" fmla="*/ 3733013 h 6406034"/>
                <a:gd name="connsiteX4" fmla="*/ 0 w 2982260"/>
                <a:gd name="connsiteY4" fmla="*/ 4036998 h 6406034"/>
                <a:gd name="connsiteX5" fmla="*/ 0 w 2982260"/>
                <a:gd name="connsiteY5" fmla="*/ 0 h 6406034"/>
                <a:gd name="connsiteX6" fmla="*/ 2982260 w 2982260"/>
                <a:gd name="connsiteY6" fmla="*/ 0 h 640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2260" h="6406034">
                  <a:moveTo>
                    <a:pt x="2982260" y="6406034"/>
                  </a:moveTo>
                  <a:lnTo>
                    <a:pt x="2186989" y="6406034"/>
                  </a:lnTo>
                  <a:lnTo>
                    <a:pt x="2189262" y="6404574"/>
                  </a:lnTo>
                  <a:lnTo>
                    <a:pt x="473258" y="3733013"/>
                  </a:lnTo>
                  <a:lnTo>
                    <a:pt x="0" y="4036998"/>
                  </a:lnTo>
                  <a:lnTo>
                    <a:pt x="0" y="0"/>
                  </a:lnTo>
                  <a:lnTo>
                    <a:pt x="2982260" y="0"/>
                  </a:lnTo>
                  <a:close/>
                </a:path>
              </a:pathLst>
            </a:custGeom>
            <a:blipFill>
              <a:blip r:embed="rId3">
                <a:extLst>
                  <a:ext uri="{96DAC541-7B7A-43D3-8B79-37D633B846F1}">
                    <asvg:svgBlip xmlns:asvg="http://schemas.microsoft.com/office/drawing/2016/SVG/main" r:embed="rId4"/>
                  </a:ext>
                </a:extLst>
              </a:blip>
              <a:stretch>
                <a:fillRect b="-4084"/>
              </a:stretch>
            </a:blipFill>
            <a:ln cap="sq">
              <a:noFill/>
              <a:prstDash val="solid"/>
              <a:miter/>
            </a:ln>
          </p:spPr>
          <p:txBody>
            <a:bodyPr wrap="square">
              <a:noAutofit/>
            </a:bodyPr>
            <a:lstStyle/>
            <a:p>
              <a:endParaRPr lang="en-US" dirty="0"/>
            </a:p>
          </p:txBody>
        </p:sp>
        <p:grpSp>
          <p:nvGrpSpPr>
            <p:cNvPr id="34" name="Group 33">
              <a:extLst>
                <a:ext uri="{FF2B5EF4-FFF2-40B4-BE49-F238E27FC236}">
                  <a16:creationId xmlns:a16="http://schemas.microsoft.com/office/drawing/2014/main" id="{5CC29CBA-FD8C-F121-F1C1-2A4F85CCE92D}"/>
                </a:ext>
              </a:extLst>
            </p:cNvPr>
            <p:cNvGrpSpPr/>
            <p:nvPr/>
          </p:nvGrpSpPr>
          <p:grpSpPr>
            <a:xfrm>
              <a:off x="756000" y="460837"/>
              <a:ext cx="6048000" cy="9442032"/>
              <a:chOff x="756000" y="460837"/>
              <a:chExt cx="6048000" cy="9442032"/>
            </a:xfrm>
          </p:grpSpPr>
          <p:grpSp>
            <p:nvGrpSpPr>
              <p:cNvPr id="33" name="Group 32">
                <a:extLst>
                  <a:ext uri="{FF2B5EF4-FFF2-40B4-BE49-F238E27FC236}">
                    <a16:creationId xmlns:a16="http://schemas.microsoft.com/office/drawing/2014/main" id="{94E4DF1A-65D8-2C70-E140-1D8FE3CBAF13}"/>
                  </a:ext>
                </a:extLst>
              </p:cNvPr>
              <p:cNvGrpSpPr/>
              <p:nvPr/>
            </p:nvGrpSpPr>
            <p:grpSpPr>
              <a:xfrm>
                <a:off x="756000" y="2927959"/>
                <a:ext cx="4961698" cy="493368"/>
                <a:chOff x="756000" y="2869093"/>
                <a:chExt cx="4961698" cy="493368"/>
              </a:xfrm>
            </p:grpSpPr>
            <p:sp>
              <p:nvSpPr>
                <p:cNvPr id="3" name="TextBox 3"/>
                <p:cNvSpPr txBox="1"/>
                <p:nvPr/>
              </p:nvSpPr>
              <p:spPr>
                <a:xfrm>
                  <a:off x="756000" y="2869093"/>
                  <a:ext cx="4961698" cy="306109"/>
                </a:xfrm>
                <a:prstGeom prst="rect">
                  <a:avLst/>
                </a:prstGeom>
              </p:spPr>
              <p:txBody>
                <a:bodyPr lIns="0" tIns="0" rIns="0" bIns="0" rtlCol="0" anchor="t">
                  <a:spAutoFit/>
                </a:bodyPr>
                <a:lstStyle/>
                <a:p>
                  <a:pPr marL="0" lvl="0" indent="0">
                    <a:lnSpc>
                      <a:spcPts val="2519"/>
                    </a:lnSpc>
                    <a:spcBef>
                      <a:spcPct val="0"/>
                    </a:spcBef>
                  </a:pPr>
                  <a:r>
                    <a:rPr lang="en-US" sz="1799" dirty="0">
                      <a:solidFill>
                        <a:srgbClr val="923939"/>
                      </a:solidFill>
                      <a:latin typeface="Cormorant Infant" pitchFamily="2" charset="0"/>
                    </a:rPr>
                    <a:t>DATE </a:t>
                  </a:r>
                  <a:r>
                    <a:rPr lang="en-US" sz="1799" i="1" dirty="0">
                      <a:solidFill>
                        <a:srgbClr val="923939"/>
                      </a:solidFill>
                      <a:latin typeface="Cormorant Infant" pitchFamily="2" charset="0"/>
                      <a:ea typeface="Cormorant Infant" pitchFamily="2" charset="0"/>
                    </a:rPr>
                    <a:t>&amp;</a:t>
                  </a:r>
                  <a:r>
                    <a:rPr lang="en-US" sz="1799" dirty="0">
                      <a:solidFill>
                        <a:srgbClr val="923939"/>
                      </a:solidFill>
                      <a:latin typeface="Cormorant Infant Bold Italics"/>
                    </a:rPr>
                    <a:t> </a:t>
                  </a:r>
                  <a:r>
                    <a:rPr lang="en-US" sz="1799" dirty="0">
                      <a:solidFill>
                        <a:srgbClr val="923939"/>
                      </a:solidFill>
                      <a:latin typeface="Cormorant Infant" pitchFamily="2" charset="0"/>
                    </a:rPr>
                    <a:t>TIME</a:t>
                  </a:r>
                </a:p>
              </p:txBody>
            </p:sp>
            <p:sp>
              <p:nvSpPr>
                <p:cNvPr id="4" name="TextBox 4"/>
                <p:cNvSpPr txBox="1"/>
                <p:nvPr/>
              </p:nvSpPr>
              <p:spPr>
                <a:xfrm>
                  <a:off x="756000" y="3187836"/>
                  <a:ext cx="4961698" cy="174625"/>
                </a:xfrm>
                <a:prstGeom prst="rect">
                  <a:avLst/>
                </a:prstGeom>
              </p:spPr>
              <p:txBody>
                <a:bodyPr lIns="0" tIns="0" rIns="0" bIns="0" rtlCol="0" anchor="t">
                  <a:spAutoFit/>
                </a:bodyPr>
                <a:lstStyle/>
                <a:p>
                  <a:pPr marL="0" lvl="0" indent="0" algn="just">
                    <a:lnSpc>
                      <a:spcPts val="1400"/>
                    </a:lnSpc>
                    <a:spcBef>
                      <a:spcPct val="0"/>
                    </a:spcBef>
                  </a:pPr>
                  <a:r>
                    <a:rPr lang="en-US" sz="1000" u="none" strike="noStrike" dirty="0">
                      <a:solidFill>
                        <a:srgbClr val="1A2F3A"/>
                      </a:solidFill>
                      <a:latin typeface="Ovo"/>
                    </a:rPr>
                    <a:t>3:00 PM Saturday | 2nd of August 2023</a:t>
                  </a:r>
                </a:p>
              </p:txBody>
            </p:sp>
          </p:grpSp>
          <p:grpSp>
            <p:nvGrpSpPr>
              <p:cNvPr id="27" name="Group 26">
                <a:extLst>
                  <a:ext uri="{FF2B5EF4-FFF2-40B4-BE49-F238E27FC236}">
                    <a16:creationId xmlns:a16="http://schemas.microsoft.com/office/drawing/2014/main" id="{1F28C8F7-3BA8-E7B0-2B99-D00BCA335D9B}"/>
                  </a:ext>
                </a:extLst>
              </p:cNvPr>
              <p:cNvGrpSpPr/>
              <p:nvPr/>
            </p:nvGrpSpPr>
            <p:grpSpPr>
              <a:xfrm>
                <a:off x="756000" y="7561519"/>
                <a:ext cx="6048000" cy="489558"/>
                <a:chOff x="756000" y="7544702"/>
                <a:chExt cx="6048000" cy="489558"/>
              </a:xfrm>
            </p:grpSpPr>
            <p:sp>
              <p:nvSpPr>
                <p:cNvPr id="6" name="TextBox 6"/>
                <p:cNvSpPr txBox="1"/>
                <p:nvPr/>
              </p:nvSpPr>
              <p:spPr>
                <a:xfrm>
                  <a:off x="756000" y="7544702"/>
                  <a:ext cx="4961699" cy="306109"/>
                </a:xfrm>
                <a:prstGeom prst="rect">
                  <a:avLst/>
                </a:prstGeom>
              </p:spPr>
              <p:txBody>
                <a:bodyPr lIns="0" tIns="0" rIns="0" bIns="0" rtlCol="0" anchor="t">
                  <a:spAutoFit/>
                </a:bodyPr>
                <a:lstStyle/>
                <a:p>
                  <a:pPr marL="0" lvl="0" indent="0">
                    <a:lnSpc>
                      <a:spcPts val="2519"/>
                    </a:lnSpc>
                    <a:spcBef>
                      <a:spcPct val="0"/>
                    </a:spcBef>
                  </a:pPr>
                  <a:r>
                    <a:rPr lang="en-US" sz="1799" dirty="0">
                      <a:solidFill>
                        <a:srgbClr val="923939"/>
                      </a:solidFill>
                      <a:latin typeface="Cormorant Infant" pitchFamily="2" charset="0"/>
                    </a:rPr>
                    <a:t>GROOMSMEN</a:t>
                  </a:r>
                </a:p>
              </p:txBody>
            </p:sp>
            <p:sp>
              <p:nvSpPr>
                <p:cNvPr id="7" name="TextBox 7"/>
                <p:cNvSpPr txBox="1"/>
                <p:nvPr/>
              </p:nvSpPr>
              <p:spPr>
                <a:xfrm>
                  <a:off x="756000" y="7859635"/>
                  <a:ext cx="6048000" cy="174625"/>
                </a:xfrm>
                <a:prstGeom prst="rect">
                  <a:avLst/>
                </a:prstGeom>
              </p:spPr>
              <p:txBody>
                <a:bodyPr lIns="0" tIns="0" rIns="0" bIns="0" rtlCol="0" anchor="t">
                  <a:spAutoFit/>
                </a:bodyPr>
                <a:lstStyle/>
                <a:p>
                  <a:pPr marL="0" lvl="0" indent="0" algn="just">
                    <a:lnSpc>
                      <a:spcPts val="1400"/>
                    </a:lnSpc>
                    <a:spcBef>
                      <a:spcPct val="0"/>
                    </a:spcBef>
                  </a:pPr>
                  <a:r>
                    <a:rPr lang="en-US" sz="1000" u="none" strike="noStrike" dirty="0">
                      <a:solidFill>
                        <a:srgbClr val="1A2F3A"/>
                      </a:solidFill>
                      <a:latin typeface="Ovo"/>
                    </a:rPr>
                    <a:t>Maxine Hartman, Dexter Blake, Asher Donovan, Celeste Ramirez, Leo Hendrix</a:t>
                  </a:r>
                </a:p>
              </p:txBody>
            </p:sp>
          </p:grpSp>
          <p:grpSp>
            <p:nvGrpSpPr>
              <p:cNvPr id="14" name="Group 13">
                <a:extLst>
                  <a:ext uri="{FF2B5EF4-FFF2-40B4-BE49-F238E27FC236}">
                    <a16:creationId xmlns:a16="http://schemas.microsoft.com/office/drawing/2014/main" id="{9C849925-F2F9-2DEA-CC4B-320E5A05CA12}"/>
                  </a:ext>
                </a:extLst>
              </p:cNvPr>
              <p:cNvGrpSpPr/>
              <p:nvPr/>
            </p:nvGrpSpPr>
            <p:grpSpPr>
              <a:xfrm>
                <a:off x="756000" y="3857719"/>
                <a:ext cx="4961698" cy="489558"/>
                <a:chOff x="756000" y="3807263"/>
                <a:chExt cx="4961698" cy="489558"/>
              </a:xfrm>
            </p:grpSpPr>
            <p:sp>
              <p:nvSpPr>
                <p:cNvPr id="9" name="TextBox 9"/>
                <p:cNvSpPr txBox="1"/>
                <p:nvPr/>
              </p:nvSpPr>
              <p:spPr>
                <a:xfrm>
                  <a:off x="756000" y="3807263"/>
                  <a:ext cx="4961698" cy="306109"/>
                </a:xfrm>
                <a:prstGeom prst="rect">
                  <a:avLst/>
                </a:prstGeom>
              </p:spPr>
              <p:txBody>
                <a:bodyPr lIns="0" tIns="0" rIns="0" bIns="0" rtlCol="0" anchor="t">
                  <a:spAutoFit/>
                </a:bodyPr>
                <a:lstStyle/>
                <a:p>
                  <a:pPr marL="0" lvl="0" indent="0">
                    <a:lnSpc>
                      <a:spcPts val="2519"/>
                    </a:lnSpc>
                    <a:spcBef>
                      <a:spcPct val="0"/>
                    </a:spcBef>
                  </a:pPr>
                  <a:r>
                    <a:rPr lang="en-US" sz="1799" dirty="0">
                      <a:solidFill>
                        <a:srgbClr val="923939"/>
                      </a:solidFill>
                      <a:latin typeface="Cormorant Infant" pitchFamily="2" charset="0"/>
                    </a:rPr>
                    <a:t>LOCATION</a:t>
                  </a:r>
                </a:p>
              </p:txBody>
            </p:sp>
            <p:sp>
              <p:nvSpPr>
                <p:cNvPr id="10" name="TextBox 10"/>
                <p:cNvSpPr txBox="1"/>
                <p:nvPr/>
              </p:nvSpPr>
              <p:spPr>
                <a:xfrm>
                  <a:off x="756000" y="4122196"/>
                  <a:ext cx="4961698" cy="174625"/>
                </a:xfrm>
                <a:prstGeom prst="rect">
                  <a:avLst/>
                </a:prstGeom>
              </p:spPr>
              <p:txBody>
                <a:bodyPr lIns="0" tIns="0" rIns="0" bIns="0" rtlCol="0" anchor="t">
                  <a:spAutoFit/>
                </a:bodyPr>
                <a:lstStyle/>
                <a:p>
                  <a:pPr marL="0" lvl="0" indent="0" algn="just">
                    <a:lnSpc>
                      <a:spcPts val="1400"/>
                    </a:lnSpc>
                    <a:spcBef>
                      <a:spcPct val="0"/>
                    </a:spcBef>
                  </a:pPr>
                  <a:r>
                    <a:rPr lang="en-US" sz="1000" u="none" strike="noStrike" dirty="0">
                      <a:solidFill>
                        <a:srgbClr val="1A2F3A"/>
                      </a:solidFill>
                      <a:latin typeface="Ovo"/>
                    </a:rPr>
                    <a:t>Lakeside Manor Gardens</a:t>
                  </a:r>
                </a:p>
              </p:txBody>
            </p:sp>
          </p:grpSp>
          <p:grpSp>
            <p:nvGrpSpPr>
              <p:cNvPr id="17" name="Group 16">
                <a:extLst>
                  <a:ext uri="{FF2B5EF4-FFF2-40B4-BE49-F238E27FC236}">
                    <a16:creationId xmlns:a16="http://schemas.microsoft.com/office/drawing/2014/main" id="{EF49DA9E-7654-D802-D529-93C85AF1E157}"/>
                  </a:ext>
                </a:extLst>
              </p:cNvPr>
              <p:cNvGrpSpPr/>
              <p:nvPr/>
            </p:nvGrpSpPr>
            <p:grpSpPr>
              <a:xfrm>
                <a:off x="756000" y="4783669"/>
                <a:ext cx="4961698" cy="489558"/>
                <a:chOff x="756000" y="4741623"/>
                <a:chExt cx="4961698" cy="489558"/>
              </a:xfrm>
            </p:grpSpPr>
            <p:sp>
              <p:nvSpPr>
                <p:cNvPr id="12" name="TextBox 12"/>
                <p:cNvSpPr txBox="1"/>
                <p:nvPr/>
              </p:nvSpPr>
              <p:spPr>
                <a:xfrm>
                  <a:off x="756000" y="4741623"/>
                  <a:ext cx="4961698" cy="306109"/>
                </a:xfrm>
                <a:prstGeom prst="rect">
                  <a:avLst/>
                </a:prstGeom>
              </p:spPr>
              <p:txBody>
                <a:bodyPr lIns="0" tIns="0" rIns="0" bIns="0" rtlCol="0" anchor="t">
                  <a:spAutoFit/>
                </a:bodyPr>
                <a:lstStyle/>
                <a:p>
                  <a:pPr marL="0" lvl="0" indent="0">
                    <a:lnSpc>
                      <a:spcPts val="2519"/>
                    </a:lnSpc>
                    <a:spcBef>
                      <a:spcPct val="0"/>
                    </a:spcBef>
                  </a:pPr>
                  <a:r>
                    <a:rPr lang="en-US" sz="1799" dirty="0">
                      <a:solidFill>
                        <a:srgbClr val="923939"/>
                      </a:solidFill>
                      <a:latin typeface="Cormorant Infant" pitchFamily="2" charset="0"/>
                    </a:rPr>
                    <a:t>PARENTS OF THE BRIDE</a:t>
                  </a:r>
                </a:p>
              </p:txBody>
            </p:sp>
            <p:sp>
              <p:nvSpPr>
                <p:cNvPr id="13" name="TextBox 13"/>
                <p:cNvSpPr txBox="1"/>
                <p:nvPr/>
              </p:nvSpPr>
              <p:spPr>
                <a:xfrm>
                  <a:off x="756000" y="5056556"/>
                  <a:ext cx="4961698" cy="174625"/>
                </a:xfrm>
                <a:prstGeom prst="rect">
                  <a:avLst/>
                </a:prstGeom>
              </p:spPr>
              <p:txBody>
                <a:bodyPr lIns="0" tIns="0" rIns="0" bIns="0" rtlCol="0" anchor="t">
                  <a:spAutoFit/>
                </a:bodyPr>
                <a:lstStyle/>
                <a:p>
                  <a:pPr marL="0" lvl="0" indent="0" algn="just">
                    <a:lnSpc>
                      <a:spcPts val="1400"/>
                    </a:lnSpc>
                    <a:spcBef>
                      <a:spcPct val="0"/>
                    </a:spcBef>
                  </a:pPr>
                  <a:r>
                    <a:rPr lang="en-US" sz="1000" u="none" strike="noStrike" dirty="0">
                      <a:solidFill>
                        <a:srgbClr val="1A2F3A"/>
                      </a:solidFill>
                      <a:latin typeface="Ovo"/>
                    </a:rPr>
                    <a:t>Harper Quinn &amp; Oliver Finch</a:t>
                  </a:r>
                </a:p>
              </p:txBody>
            </p:sp>
          </p:grpSp>
          <p:grpSp>
            <p:nvGrpSpPr>
              <p:cNvPr id="20" name="Group 19">
                <a:extLst>
                  <a:ext uri="{FF2B5EF4-FFF2-40B4-BE49-F238E27FC236}">
                    <a16:creationId xmlns:a16="http://schemas.microsoft.com/office/drawing/2014/main" id="{EE2B66C3-932A-67DF-9F91-B0D6D1C22498}"/>
                  </a:ext>
                </a:extLst>
              </p:cNvPr>
              <p:cNvGrpSpPr/>
              <p:nvPr/>
            </p:nvGrpSpPr>
            <p:grpSpPr>
              <a:xfrm>
                <a:off x="756000" y="5709619"/>
                <a:ext cx="4961698" cy="489558"/>
                <a:chOff x="756000" y="5675983"/>
                <a:chExt cx="4961698" cy="489558"/>
              </a:xfrm>
            </p:grpSpPr>
            <p:sp>
              <p:nvSpPr>
                <p:cNvPr id="15" name="TextBox 15"/>
                <p:cNvSpPr txBox="1"/>
                <p:nvPr/>
              </p:nvSpPr>
              <p:spPr>
                <a:xfrm>
                  <a:off x="756000" y="5675983"/>
                  <a:ext cx="4961698" cy="306109"/>
                </a:xfrm>
                <a:prstGeom prst="rect">
                  <a:avLst/>
                </a:prstGeom>
              </p:spPr>
              <p:txBody>
                <a:bodyPr lIns="0" tIns="0" rIns="0" bIns="0" rtlCol="0" anchor="t">
                  <a:spAutoFit/>
                </a:bodyPr>
                <a:lstStyle/>
                <a:p>
                  <a:pPr marL="0" lvl="0" indent="0">
                    <a:lnSpc>
                      <a:spcPts val="2519"/>
                    </a:lnSpc>
                    <a:spcBef>
                      <a:spcPct val="0"/>
                    </a:spcBef>
                  </a:pPr>
                  <a:r>
                    <a:rPr lang="en-US" sz="1799" dirty="0">
                      <a:solidFill>
                        <a:srgbClr val="923939"/>
                      </a:solidFill>
                      <a:latin typeface="Cormorant Infant" pitchFamily="2" charset="0"/>
                    </a:rPr>
                    <a:t>PARENTS OF THE GROOM</a:t>
                  </a:r>
                </a:p>
              </p:txBody>
            </p:sp>
            <p:sp>
              <p:nvSpPr>
                <p:cNvPr id="16" name="TextBox 16"/>
                <p:cNvSpPr txBox="1"/>
                <p:nvPr/>
              </p:nvSpPr>
              <p:spPr>
                <a:xfrm>
                  <a:off x="756000" y="5990916"/>
                  <a:ext cx="4961698" cy="174625"/>
                </a:xfrm>
                <a:prstGeom prst="rect">
                  <a:avLst/>
                </a:prstGeom>
              </p:spPr>
              <p:txBody>
                <a:bodyPr lIns="0" tIns="0" rIns="0" bIns="0" rtlCol="0" anchor="t">
                  <a:spAutoFit/>
                </a:bodyPr>
                <a:lstStyle/>
                <a:p>
                  <a:pPr marL="0" lvl="0" indent="0" algn="just">
                    <a:lnSpc>
                      <a:spcPts val="1400"/>
                    </a:lnSpc>
                    <a:spcBef>
                      <a:spcPct val="0"/>
                    </a:spcBef>
                  </a:pPr>
                  <a:r>
                    <a:rPr lang="en-US" sz="1000" u="none" strike="noStrike" dirty="0">
                      <a:solidFill>
                        <a:srgbClr val="1A2F3A"/>
                      </a:solidFill>
                      <a:latin typeface="Ovo"/>
                    </a:rPr>
                    <a:t>Maya Sterling &amp; Nolan Everest</a:t>
                  </a:r>
                </a:p>
              </p:txBody>
            </p:sp>
          </p:grpSp>
          <p:grpSp>
            <p:nvGrpSpPr>
              <p:cNvPr id="23" name="Group 22">
                <a:extLst>
                  <a:ext uri="{FF2B5EF4-FFF2-40B4-BE49-F238E27FC236}">
                    <a16:creationId xmlns:a16="http://schemas.microsoft.com/office/drawing/2014/main" id="{9F692F65-9342-CEAD-EF1F-DB9BB5F63BF7}"/>
                  </a:ext>
                </a:extLst>
              </p:cNvPr>
              <p:cNvGrpSpPr/>
              <p:nvPr/>
            </p:nvGrpSpPr>
            <p:grpSpPr>
              <a:xfrm>
                <a:off x="756000" y="6635569"/>
                <a:ext cx="6048000" cy="489558"/>
                <a:chOff x="756000" y="6610343"/>
                <a:chExt cx="6048000" cy="489558"/>
              </a:xfrm>
            </p:grpSpPr>
            <p:sp>
              <p:nvSpPr>
                <p:cNvPr id="18" name="TextBox 18"/>
                <p:cNvSpPr txBox="1"/>
                <p:nvPr/>
              </p:nvSpPr>
              <p:spPr>
                <a:xfrm>
                  <a:off x="756000" y="6925276"/>
                  <a:ext cx="6048000" cy="174625"/>
                </a:xfrm>
                <a:prstGeom prst="rect">
                  <a:avLst/>
                </a:prstGeom>
              </p:spPr>
              <p:txBody>
                <a:bodyPr lIns="0" tIns="0" rIns="0" bIns="0" rtlCol="0" anchor="t">
                  <a:spAutoFit/>
                </a:bodyPr>
                <a:lstStyle/>
                <a:p>
                  <a:pPr marL="0" lvl="0" indent="0" algn="just">
                    <a:lnSpc>
                      <a:spcPts val="1400"/>
                    </a:lnSpc>
                    <a:spcBef>
                      <a:spcPct val="0"/>
                    </a:spcBef>
                  </a:pPr>
                  <a:r>
                    <a:rPr lang="en-US" sz="1000" u="none" strike="noStrike" dirty="0">
                      <a:solidFill>
                        <a:srgbClr val="1A2F3A"/>
                      </a:solidFill>
                      <a:latin typeface="Ovo"/>
                    </a:rPr>
                    <a:t>Luna Valencia, Jade Montgomery, Isla Monroe, Aurora Mitchell, Zoey Donovan</a:t>
                  </a:r>
                </a:p>
              </p:txBody>
            </p:sp>
            <p:sp>
              <p:nvSpPr>
                <p:cNvPr id="19" name="TextBox 19"/>
                <p:cNvSpPr txBox="1"/>
                <p:nvPr/>
              </p:nvSpPr>
              <p:spPr>
                <a:xfrm>
                  <a:off x="756000" y="6610343"/>
                  <a:ext cx="4961699" cy="306109"/>
                </a:xfrm>
                <a:prstGeom prst="rect">
                  <a:avLst/>
                </a:prstGeom>
              </p:spPr>
              <p:txBody>
                <a:bodyPr lIns="0" tIns="0" rIns="0" bIns="0" rtlCol="0" anchor="t">
                  <a:spAutoFit/>
                </a:bodyPr>
                <a:lstStyle/>
                <a:p>
                  <a:pPr marL="0" lvl="0" indent="0">
                    <a:lnSpc>
                      <a:spcPts val="2519"/>
                    </a:lnSpc>
                    <a:spcBef>
                      <a:spcPct val="0"/>
                    </a:spcBef>
                  </a:pPr>
                  <a:r>
                    <a:rPr lang="en-US" sz="1799" dirty="0">
                      <a:solidFill>
                        <a:srgbClr val="923939"/>
                      </a:solidFill>
                      <a:latin typeface="Cormorant Infant" pitchFamily="2" charset="0"/>
                    </a:rPr>
                    <a:t>BRIDESMAIDS</a:t>
                  </a:r>
                </a:p>
              </p:txBody>
            </p:sp>
          </p:grpSp>
          <p:grpSp>
            <p:nvGrpSpPr>
              <p:cNvPr id="31" name="Group 30">
                <a:extLst>
                  <a:ext uri="{FF2B5EF4-FFF2-40B4-BE49-F238E27FC236}">
                    <a16:creationId xmlns:a16="http://schemas.microsoft.com/office/drawing/2014/main" id="{88077A0B-4A8C-7CE8-DAF5-F6272337C4D5}"/>
                  </a:ext>
                </a:extLst>
              </p:cNvPr>
              <p:cNvGrpSpPr/>
              <p:nvPr/>
            </p:nvGrpSpPr>
            <p:grpSpPr>
              <a:xfrm>
                <a:off x="756000" y="8487469"/>
                <a:ext cx="4961698" cy="489558"/>
                <a:chOff x="756000" y="8479062"/>
                <a:chExt cx="4961698" cy="489558"/>
              </a:xfrm>
            </p:grpSpPr>
            <p:sp>
              <p:nvSpPr>
                <p:cNvPr id="21" name="TextBox 21"/>
                <p:cNvSpPr txBox="1"/>
                <p:nvPr/>
              </p:nvSpPr>
              <p:spPr>
                <a:xfrm>
                  <a:off x="756000" y="8479062"/>
                  <a:ext cx="4961698" cy="306109"/>
                </a:xfrm>
                <a:prstGeom prst="rect">
                  <a:avLst/>
                </a:prstGeom>
              </p:spPr>
              <p:txBody>
                <a:bodyPr lIns="0" tIns="0" rIns="0" bIns="0" rtlCol="0" anchor="t">
                  <a:spAutoFit/>
                </a:bodyPr>
                <a:lstStyle/>
                <a:p>
                  <a:pPr marL="0" lvl="0" indent="0">
                    <a:lnSpc>
                      <a:spcPts val="2519"/>
                    </a:lnSpc>
                    <a:spcBef>
                      <a:spcPct val="0"/>
                    </a:spcBef>
                  </a:pPr>
                  <a:r>
                    <a:rPr lang="en-US" sz="1799" dirty="0">
                      <a:solidFill>
                        <a:srgbClr val="923939"/>
                      </a:solidFill>
                      <a:latin typeface="Cormorant Infant" pitchFamily="2" charset="0"/>
                    </a:rPr>
                    <a:t>FLOWER GIRLS</a:t>
                  </a:r>
                </a:p>
              </p:txBody>
            </p:sp>
            <p:sp>
              <p:nvSpPr>
                <p:cNvPr id="22" name="TextBox 22"/>
                <p:cNvSpPr txBox="1"/>
                <p:nvPr/>
              </p:nvSpPr>
              <p:spPr>
                <a:xfrm>
                  <a:off x="756000" y="8793995"/>
                  <a:ext cx="4961698" cy="174625"/>
                </a:xfrm>
                <a:prstGeom prst="rect">
                  <a:avLst/>
                </a:prstGeom>
              </p:spPr>
              <p:txBody>
                <a:bodyPr lIns="0" tIns="0" rIns="0" bIns="0" rtlCol="0" anchor="t">
                  <a:spAutoFit/>
                </a:bodyPr>
                <a:lstStyle/>
                <a:p>
                  <a:pPr marL="0" lvl="0" indent="0" algn="just">
                    <a:lnSpc>
                      <a:spcPts val="1400"/>
                    </a:lnSpc>
                    <a:spcBef>
                      <a:spcPct val="0"/>
                    </a:spcBef>
                  </a:pPr>
                  <a:r>
                    <a:rPr lang="en-US" sz="1000" u="none" strike="noStrike" dirty="0">
                      <a:solidFill>
                        <a:srgbClr val="1A2F3A"/>
                      </a:solidFill>
                      <a:latin typeface="Ovo"/>
                    </a:rPr>
                    <a:t>Caleb Mercer &amp; Felix Santiago</a:t>
                  </a:r>
                </a:p>
              </p:txBody>
            </p:sp>
          </p:grpSp>
          <p:grpSp>
            <p:nvGrpSpPr>
              <p:cNvPr id="32" name="Group 31">
                <a:extLst>
                  <a:ext uri="{FF2B5EF4-FFF2-40B4-BE49-F238E27FC236}">
                    <a16:creationId xmlns:a16="http://schemas.microsoft.com/office/drawing/2014/main" id="{46E8EBB9-4F69-F354-5B7B-75460351F77B}"/>
                  </a:ext>
                </a:extLst>
              </p:cNvPr>
              <p:cNvGrpSpPr/>
              <p:nvPr/>
            </p:nvGrpSpPr>
            <p:grpSpPr>
              <a:xfrm>
                <a:off x="756000" y="9413422"/>
                <a:ext cx="4961698" cy="489447"/>
                <a:chOff x="756000" y="9413422"/>
                <a:chExt cx="4961698" cy="489447"/>
              </a:xfrm>
            </p:grpSpPr>
            <p:sp>
              <p:nvSpPr>
                <p:cNvPr id="24" name="TextBox 24"/>
                <p:cNvSpPr txBox="1"/>
                <p:nvPr/>
              </p:nvSpPr>
              <p:spPr>
                <a:xfrm>
                  <a:off x="756000" y="9413422"/>
                  <a:ext cx="4961698" cy="306109"/>
                </a:xfrm>
                <a:prstGeom prst="rect">
                  <a:avLst/>
                </a:prstGeom>
              </p:spPr>
              <p:txBody>
                <a:bodyPr lIns="0" tIns="0" rIns="0" bIns="0" rtlCol="0" anchor="t">
                  <a:spAutoFit/>
                </a:bodyPr>
                <a:lstStyle/>
                <a:p>
                  <a:pPr marL="0" lvl="0" indent="0">
                    <a:lnSpc>
                      <a:spcPts val="2519"/>
                    </a:lnSpc>
                    <a:spcBef>
                      <a:spcPct val="0"/>
                    </a:spcBef>
                  </a:pPr>
                  <a:r>
                    <a:rPr lang="en-US" sz="1799" dirty="0">
                      <a:solidFill>
                        <a:srgbClr val="923939"/>
                      </a:solidFill>
                      <a:latin typeface="Cormorant Infant" pitchFamily="2" charset="0"/>
                    </a:rPr>
                    <a:t>WEDDING ORGANIZER</a:t>
                  </a:r>
                </a:p>
              </p:txBody>
            </p:sp>
            <p:sp>
              <p:nvSpPr>
                <p:cNvPr id="25" name="TextBox 25"/>
                <p:cNvSpPr txBox="1"/>
                <p:nvPr/>
              </p:nvSpPr>
              <p:spPr>
                <a:xfrm>
                  <a:off x="756000" y="9728244"/>
                  <a:ext cx="4961698" cy="174625"/>
                </a:xfrm>
                <a:prstGeom prst="rect">
                  <a:avLst/>
                </a:prstGeom>
              </p:spPr>
              <p:txBody>
                <a:bodyPr lIns="0" tIns="0" rIns="0" bIns="0" rtlCol="0" anchor="t">
                  <a:spAutoFit/>
                </a:bodyPr>
                <a:lstStyle/>
                <a:p>
                  <a:pPr marL="0" lvl="0" indent="0" algn="just">
                    <a:lnSpc>
                      <a:spcPts val="1400"/>
                    </a:lnSpc>
                    <a:spcBef>
                      <a:spcPct val="0"/>
                    </a:spcBef>
                  </a:pPr>
                  <a:r>
                    <a:rPr lang="en-US" sz="1000" u="none" strike="noStrike" dirty="0">
                      <a:solidFill>
                        <a:srgbClr val="1A2F3A"/>
                      </a:solidFill>
                      <a:latin typeface="Ovo"/>
                    </a:rPr>
                    <a:t>Celestial Nuptial Extravaganzas</a:t>
                  </a:r>
                </a:p>
              </p:txBody>
            </p:sp>
          </p:grpSp>
          <p:grpSp>
            <p:nvGrpSpPr>
              <p:cNvPr id="11" name="Group 10">
                <a:extLst>
                  <a:ext uri="{FF2B5EF4-FFF2-40B4-BE49-F238E27FC236}">
                    <a16:creationId xmlns:a16="http://schemas.microsoft.com/office/drawing/2014/main" id="{157D2B8A-C6C3-EBED-E3C3-00B16D470D56}"/>
                  </a:ext>
                </a:extLst>
              </p:cNvPr>
              <p:cNvGrpSpPr/>
              <p:nvPr/>
            </p:nvGrpSpPr>
            <p:grpSpPr>
              <a:xfrm>
                <a:off x="756000" y="460837"/>
                <a:ext cx="4040014" cy="2030730"/>
                <a:chOff x="756000" y="460837"/>
                <a:chExt cx="4040014" cy="2030730"/>
              </a:xfrm>
            </p:grpSpPr>
            <p:sp>
              <p:nvSpPr>
                <p:cNvPr id="28" name="TextBox 28"/>
                <p:cNvSpPr txBox="1"/>
                <p:nvPr/>
              </p:nvSpPr>
              <p:spPr>
                <a:xfrm>
                  <a:off x="756000" y="460837"/>
                  <a:ext cx="4040014" cy="306109"/>
                </a:xfrm>
                <a:prstGeom prst="rect">
                  <a:avLst/>
                </a:prstGeom>
              </p:spPr>
              <p:txBody>
                <a:bodyPr lIns="0" tIns="0" rIns="0" bIns="0" rtlCol="0" anchor="t">
                  <a:spAutoFit/>
                </a:bodyPr>
                <a:lstStyle/>
                <a:p>
                  <a:pPr marL="0" lvl="0" indent="0" algn="l">
                    <a:lnSpc>
                      <a:spcPts val="2519"/>
                    </a:lnSpc>
                    <a:spcBef>
                      <a:spcPct val="0"/>
                    </a:spcBef>
                  </a:pPr>
                  <a:r>
                    <a:rPr lang="en-US" sz="1799" dirty="0">
                      <a:solidFill>
                        <a:srgbClr val="923939"/>
                      </a:solidFill>
                      <a:latin typeface="Cormorant Infant" pitchFamily="2" charset="0"/>
                    </a:rPr>
                    <a:t>THE WEDDING OF</a:t>
                  </a:r>
                </a:p>
              </p:txBody>
            </p:sp>
            <p:sp>
              <p:nvSpPr>
                <p:cNvPr id="29" name="TextBox 29"/>
                <p:cNvSpPr txBox="1"/>
                <p:nvPr/>
              </p:nvSpPr>
              <p:spPr>
                <a:xfrm>
                  <a:off x="756000" y="758018"/>
                  <a:ext cx="4040014" cy="1733549"/>
                </a:xfrm>
                <a:prstGeom prst="rect">
                  <a:avLst/>
                </a:prstGeom>
              </p:spPr>
              <p:txBody>
                <a:bodyPr lIns="0" tIns="0" rIns="0" bIns="0" rtlCol="0" anchor="t">
                  <a:spAutoFit/>
                </a:bodyPr>
                <a:lstStyle/>
                <a:p>
                  <a:pPr marL="0" lvl="0" indent="0" algn="l">
                    <a:lnSpc>
                      <a:spcPts val="6846"/>
                    </a:lnSpc>
                    <a:spcBef>
                      <a:spcPct val="0"/>
                    </a:spcBef>
                  </a:pPr>
                  <a:r>
                    <a:rPr lang="en-US" sz="5700" u="none" strike="noStrike" dirty="0">
                      <a:solidFill>
                        <a:srgbClr val="923939"/>
                      </a:solidFill>
                      <a:latin typeface="Cormorant Infant" pitchFamily="2" charset="0"/>
                    </a:rPr>
                    <a:t>ANNA </a:t>
                  </a:r>
                  <a:r>
                    <a:rPr lang="en-US" sz="5700" i="1" u="none" strike="noStrike" dirty="0">
                      <a:solidFill>
                        <a:srgbClr val="923939"/>
                      </a:solidFill>
                      <a:latin typeface="Cormorant Infant" pitchFamily="2" charset="0"/>
                      <a:ea typeface="Cormorant Infant" pitchFamily="2" charset="0"/>
                    </a:rPr>
                    <a:t>&amp; </a:t>
                  </a:r>
                  <a:r>
                    <a:rPr lang="en-US" sz="5700" u="none" strike="noStrike" dirty="0">
                      <a:solidFill>
                        <a:srgbClr val="923939"/>
                      </a:solidFill>
                      <a:latin typeface="Cormorant Infant" pitchFamily="2" charset="0"/>
                    </a:rPr>
                    <a:t>THOMAS</a:t>
                  </a:r>
                </a:p>
              </p:txBody>
            </p:sp>
          </p:grpSp>
        </p:grpSp>
        <p:sp>
          <p:nvSpPr>
            <p:cNvPr id="30" name="TemplateLAB"/>
            <p:cNvSpPr/>
            <p:nvPr/>
          </p:nvSpPr>
          <p:spPr>
            <a:xfrm rot="5400000">
              <a:off x="6278132" y="6706496"/>
              <a:ext cx="732059" cy="120790"/>
            </a:xfrm>
            <a:custGeom>
              <a:avLst/>
              <a:gdLst/>
              <a:ahLst/>
              <a:cxnLst/>
              <a:rect l="l" t="t" r="r" b="b"/>
              <a:pathLst>
                <a:path w="732059" h="120790">
                  <a:moveTo>
                    <a:pt x="0" y="0"/>
                  </a:moveTo>
                  <a:lnTo>
                    <a:pt x="732059" y="0"/>
                  </a:lnTo>
                  <a:lnTo>
                    <a:pt x="732059" y="120790"/>
                  </a:lnTo>
                  <a:lnTo>
                    <a:pt x="0" y="12079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dirty="0"/>
            </a:p>
          </p:txBody>
        </p:sp>
      </p:grpSp>
    </p:spTree>
    <p:custDataLst>
      <p:tags r:id="rId1"/>
    </p:custData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923939"/>
        </a:solidFill>
        <a:effectLst/>
      </p:bgPr>
    </p:bg>
    <p:spTree>
      <p:nvGrpSpPr>
        <p:cNvPr id="1" name=""/>
        <p:cNvGrpSpPr/>
        <p:nvPr/>
      </p:nvGrpSpPr>
      <p:grpSpPr>
        <a:xfrm>
          <a:off x="0" y="0"/>
          <a:ext cx="0" cy="0"/>
          <a:chOff x="0" y="0"/>
          <a:chExt cx="0" cy="0"/>
        </a:xfrm>
      </p:grpSpPr>
      <p:grpSp>
        <p:nvGrpSpPr>
          <p:cNvPr id="52" name="Group 4 - Page 4">
            <a:extLst>
              <a:ext uri="{FF2B5EF4-FFF2-40B4-BE49-F238E27FC236}">
                <a16:creationId xmlns:a16="http://schemas.microsoft.com/office/drawing/2014/main" id="{DFB64210-B1A3-073B-A9AF-1A3162594985}"/>
              </a:ext>
            </a:extLst>
          </p:cNvPr>
          <p:cNvGrpSpPr/>
          <p:nvPr/>
        </p:nvGrpSpPr>
        <p:grpSpPr>
          <a:xfrm>
            <a:off x="-779421" y="-1500828"/>
            <a:ext cx="9094474" cy="12267089"/>
            <a:chOff x="-779421" y="-1500828"/>
            <a:chExt cx="9094474" cy="12267089"/>
          </a:xfrm>
        </p:grpSpPr>
        <p:grpSp>
          <p:nvGrpSpPr>
            <p:cNvPr id="28" name="Group 27">
              <a:extLst>
                <a:ext uri="{FF2B5EF4-FFF2-40B4-BE49-F238E27FC236}">
                  <a16:creationId xmlns:a16="http://schemas.microsoft.com/office/drawing/2014/main" id="{3B2D2662-F80D-B8E9-C502-B23036B4A464}"/>
                </a:ext>
              </a:extLst>
            </p:cNvPr>
            <p:cNvGrpSpPr/>
            <p:nvPr/>
          </p:nvGrpSpPr>
          <p:grpSpPr>
            <a:xfrm>
              <a:off x="1298398" y="470074"/>
              <a:ext cx="4963202" cy="2040378"/>
              <a:chOff x="1298398" y="470074"/>
              <a:chExt cx="4963202" cy="2040378"/>
            </a:xfrm>
          </p:grpSpPr>
          <p:sp>
            <p:nvSpPr>
              <p:cNvPr id="3" name="TextBox 3"/>
              <p:cNvSpPr txBox="1"/>
              <p:nvPr/>
            </p:nvSpPr>
            <p:spPr>
              <a:xfrm>
                <a:off x="1298398" y="1364827"/>
                <a:ext cx="4963202" cy="866775"/>
              </a:xfrm>
              <a:prstGeom prst="rect">
                <a:avLst/>
              </a:prstGeom>
            </p:spPr>
            <p:txBody>
              <a:bodyPr lIns="0" tIns="0" rIns="0" bIns="0" rtlCol="0" anchor="t">
                <a:spAutoFit/>
              </a:bodyPr>
              <a:lstStyle/>
              <a:p>
                <a:pPr marL="0" lvl="0" indent="0" algn="ctr">
                  <a:lnSpc>
                    <a:spcPts val="6846"/>
                  </a:lnSpc>
                  <a:spcBef>
                    <a:spcPct val="0"/>
                  </a:spcBef>
                </a:pPr>
                <a:r>
                  <a:rPr lang="en-US" sz="5700" u="none" strike="noStrike" dirty="0">
                    <a:solidFill>
                      <a:srgbClr val="FFF8F3"/>
                    </a:solidFill>
                    <a:latin typeface="Cormorant Infant" pitchFamily="2" charset="0"/>
                  </a:rPr>
                  <a:t>WEDDING</a:t>
                </a:r>
              </a:p>
            </p:txBody>
          </p:sp>
          <p:sp>
            <p:nvSpPr>
              <p:cNvPr id="4" name="TextBox 4"/>
              <p:cNvSpPr txBox="1"/>
              <p:nvPr/>
            </p:nvSpPr>
            <p:spPr>
              <a:xfrm>
                <a:off x="2130415" y="2130796"/>
                <a:ext cx="3299169" cy="379656"/>
              </a:xfrm>
              <a:prstGeom prst="rect">
                <a:avLst/>
              </a:prstGeom>
            </p:spPr>
            <p:txBody>
              <a:bodyPr lIns="0" tIns="0" rIns="0" bIns="0" rtlCol="0" anchor="t">
                <a:spAutoFit/>
              </a:bodyPr>
              <a:lstStyle/>
              <a:p>
                <a:pPr marL="0" lvl="0" indent="0" algn="ctr">
                  <a:lnSpc>
                    <a:spcPts val="2999"/>
                  </a:lnSpc>
                  <a:spcBef>
                    <a:spcPct val="0"/>
                  </a:spcBef>
                </a:pPr>
                <a:r>
                  <a:rPr lang="en-US" sz="2499" dirty="0">
                    <a:solidFill>
                      <a:srgbClr val="FFF8F3"/>
                    </a:solidFill>
                    <a:latin typeface="Cormorant Infant" pitchFamily="2" charset="0"/>
                  </a:rPr>
                  <a:t>Timeline</a:t>
                </a:r>
              </a:p>
            </p:txBody>
          </p:sp>
          <p:sp>
            <p:nvSpPr>
              <p:cNvPr id="5" name="TextBox 5"/>
              <p:cNvSpPr txBox="1"/>
              <p:nvPr/>
            </p:nvSpPr>
            <p:spPr>
              <a:xfrm>
                <a:off x="1669822" y="470074"/>
                <a:ext cx="4220356" cy="1295226"/>
              </a:xfrm>
              <a:prstGeom prst="rect">
                <a:avLst/>
              </a:prstGeom>
            </p:spPr>
            <p:txBody>
              <a:bodyPr lIns="0" tIns="0" rIns="0" bIns="0" rtlCol="0" anchor="t">
                <a:spAutoFit/>
              </a:bodyPr>
              <a:lstStyle/>
              <a:p>
                <a:pPr algn="ctr">
                  <a:lnSpc>
                    <a:spcPts val="10069"/>
                  </a:lnSpc>
                </a:pPr>
                <a:r>
                  <a:rPr lang="en-US" sz="6300" dirty="0">
                    <a:solidFill>
                      <a:srgbClr val="FFF8F3"/>
                    </a:solidFill>
                    <a:latin typeface="Mrs Saint Delafield"/>
                  </a:rPr>
                  <a:t>the</a:t>
                </a:r>
              </a:p>
            </p:txBody>
          </p:sp>
        </p:grpSp>
        <p:grpSp>
          <p:nvGrpSpPr>
            <p:cNvPr id="50" name="Group 49">
              <a:extLst>
                <a:ext uri="{FF2B5EF4-FFF2-40B4-BE49-F238E27FC236}">
                  <a16:creationId xmlns:a16="http://schemas.microsoft.com/office/drawing/2014/main" id="{B5D96BAB-84F3-5DEA-97F7-C4D004719A99}"/>
                </a:ext>
              </a:extLst>
            </p:cNvPr>
            <p:cNvGrpSpPr/>
            <p:nvPr/>
          </p:nvGrpSpPr>
          <p:grpSpPr>
            <a:xfrm>
              <a:off x="1089786" y="3321134"/>
              <a:ext cx="5380427" cy="5098994"/>
              <a:chOff x="1089786" y="3321134"/>
              <a:chExt cx="5380427" cy="5098994"/>
            </a:xfrm>
          </p:grpSpPr>
          <p:sp>
            <p:nvSpPr>
              <p:cNvPr id="7" name="AutoShape 7"/>
              <p:cNvSpPr/>
              <p:nvPr/>
            </p:nvSpPr>
            <p:spPr>
              <a:xfrm flipV="1">
                <a:off x="3780000" y="3349709"/>
                <a:ext cx="0" cy="4498738"/>
              </a:xfrm>
              <a:prstGeom prst="line">
                <a:avLst/>
              </a:prstGeom>
              <a:ln w="12700" cap="flat">
                <a:solidFill>
                  <a:srgbClr val="FFF8F3"/>
                </a:solidFill>
                <a:prstDash val="solid"/>
                <a:headEnd type="none" w="sm" len="sm"/>
                <a:tailEnd type="none" w="sm" len="sm"/>
              </a:ln>
            </p:spPr>
            <p:txBody>
              <a:bodyPr/>
              <a:lstStyle/>
              <a:p>
                <a:endParaRPr lang="en-US" dirty="0"/>
              </a:p>
            </p:txBody>
          </p:sp>
          <p:sp>
            <p:nvSpPr>
              <p:cNvPr id="9" name="Freeform 9"/>
              <p:cNvSpPr/>
              <p:nvPr/>
            </p:nvSpPr>
            <p:spPr>
              <a:xfrm>
                <a:off x="3724422" y="5112375"/>
                <a:ext cx="111155" cy="111155"/>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8F3"/>
              </a:solidFill>
            </p:spPr>
            <p:txBody>
              <a:bodyPr/>
              <a:lstStyle/>
              <a:p>
                <a:endParaRPr lang="en-US" dirty="0"/>
              </a:p>
            </p:txBody>
          </p:sp>
          <p:grpSp>
            <p:nvGrpSpPr>
              <p:cNvPr id="46" name="Group 45">
                <a:extLst>
                  <a:ext uri="{FF2B5EF4-FFF2-40B4-BE49-F238E27FC236}">
                    <a16:creationId xmlns:a16="http://schemas.microsoft.com/office/drawing/2014/main" id="{BC7FE13A-31F1-3FC4-050E-0C59FB083BDB}"/>
                  </a:ext>
                </a:extLst>
              </p:cNvPr>
              <p:cNvGrpSpPr/>
              <p:nvPr/>
            </p:nvGrpSpPr>
            <p:grpSpPr>
              <a:xfrm>
                <a:off x="1089786" y="5083716"/>
                <a:ext cx="2445601" cy="692539"/>
                <a:chOff x="1089786" y="5082615"/>
                <a:chExt cx="2445601" cy="692539"/>
              </a:xfrm>
            </p:grpSpPr>
            <p:sp>
              <p:nvSpPr>
                <p:cNvPr id="11" name="TextBox 11"/>
                <p:cNvSpPr txBox="1"/>
                <p:nvPr/>
              </p:nvSpPr>
              <p:spPr>
                <a:xfrm>
                  <a:off x="1089786" y="5349845"/>
                  <a:ext cx="2445601" cy="425309"/>
                </a:xfrm>
                <a:prstGeom prst="rect">
                  <a:avLst/>
                </a:prstGeom>
              </p:spPr>
              <p:txBody>
                <a:bodyPr lIns="0" tIns="0" rIns="0" bIns="0" rtlCol="0" anchor="t">
                  <a:spAutoFit/>
                </a:bodyPr>
                <a:lstStyle/>
                <a:p>
                  <a:pPr algn="r">
                    <a:lnSpc>
                      <a:spcPts val="1715"/>
                    </a:lnSpc>
                  </a:pPr>
                  <a:r>
                    <a:rPr lang="en-US" sz="1200" spc="209" dirty="0">
                      <a:solidFill>
                        <a:srgbClr val="FFF8F3"/>
                      </a:solidFill>
                      <a:latin typeface="Cormorant Infant"/>
                    </a:rPr>
                    <a:t> WEDDING</a:t>
                  </a:r>
                </a:p>
                <a:p>
                  <a:pPr marL="0" lvl="0" indent="0" algn="r">
                    <a:lnSpc>
                      <a:spcPts val="1715"/>
                    </a:lnSpc>
                    <a:spcBef>
                      <a:spcPct val="0"/>
                    </a:spcBef>
                  </a:pPr>
                  <a:r>
                    <a:rPr lang="en-US" sz="1200" spc="209" dirty="0">
                      <a:solidFill>
                        <a:srgbClr val="FFF8F3"/>
                      </a:solidFill>
                      <a:latin typeface="Cormorant Infant"/>
                    </a:rPr>
                    <a:t>CEREMONY</a:t>
                  </a:r>
                </a:p>
              </p:txBody>
            </p:sp>
            <p:sp>
              <p:nvSpPr>
                <p:cNvPr id="12" name="TextBox 12"/>
                <p:cNvSpPr txBox="1"/>
                <p:nvPr/>
              </p:nvSpPr>
              <p:spPr>
                <a:xfrm>
                  <a:off x="2009872" y="5082615"/>
                  <a:ext cx="1525515" cy="206660"/>
                </a:xfrm>
                <a:prstGeom prst="rect">
                  <a:avLst/>
                </a:prstGeom>
              </p:spPr>
              <p:txBody>
                <a:bodyPr lIns="0" tIns="0" rIns="0" bIns="0" rtlCol="0" anchor="t">
                  <a:spAutoFit/>
                </a:bodyPr>
                <a:lstStyle/>
                <a:p>
                  <a:pPr marL="0" lvl="0" indent="0" algn="r">
                    <a:lnSpc>
                      <a:spcPts val="1715"/>
                    </a:lnSpc>
                    <a:spcBef>
                      <a:spcPct val="0"/>
                    </a:spcBef>
                  </a:pPr>
                  <a:r>
                    <a:rPr lang="en-US" sz="1200" b="1" spc="123" dirty="0">
                      <a:solidFill>
                        <a:srgbClr val="FFF8F3"/>
                      </a:solidFill>
                      <a:latin typeface="Cormorant Infant" pitchFamily="2" charset="0"/>
                    </a:rPr>
                    <a:t>3:00 PM - 4:00 PM</a:t>
                  </a:r>
                </a:p>
              </p:txBody>
            </p:sp>
          </p:grpSp>
          <p:grpSp>
            <p:nvGrpSpPr>
              <p:cNvPr id="33" name="Group 32">
                <a:extLst>
                  <a:ext uri="{FF2B5EF4-FFF2-40B4-BE49-F238E27FC236}">
                    <a16:creationId xmlns:a16="http://schemas.microsoft.com/office/drawing/2014/main" id="{7C065B91-19E2-D9D7-722A-380C10309B66}"/>
                  </a:ext>
                </a:extLst>
              </p:cNvPr>
              <p:cNvGrpSpPr/>
              <p:nvPr/>
            </p:nvGrpSpPr>
            <p:grpSpPr>
              <a:xfrm>
                <a:off x="1089786" y="3321134"/>
                <a:ext cx="2445601" cy="692539"/>
                <a:chOff x="1089786" y="3321134"/>
                <a:chExt cx="2445601" cy="692539"/>
              </a:xfrm>
            </p:grpSpPr>
            <p:sp>
              <p:nvSpPr>
                <p:cNvPr id="13" name="TextBox 13"/>
                <p:cNvSpPr txBox="1"/>
                <p:nvPr/>
              </p:nvSpPr>
              <p:spPr>
                <a:xfrm>
                  <a:off x="1089786" y="3588364"/>
                  <a:ext cx="2445601" cy="425309"/>
                </a:xfrm>
                <a:prstGeom prst="rect">
                  <a:avLst/>
                </a:prstGeom>
              </p:spPr>
              <p:txBody>
                <a:bodyPr lIns="0" tIns="0" rIns="0" bIns="0" rtlCol="0" anchor="t">
                  <a:spAutoFit/>
                </a:bodyPr>
                <a:lstStyle/>
                <a:p>
                  <a:pPr algn="r">
                    <a:lnSpc>
                      <a:spcPts val="1715"/>
                    </a:lnSpc>
                  </a:pPr>
                  <a:r>
                    <a:rPr lang="en-US" sz="1200" spc="209" dirty="0">
                      <a:solidFill>
                        <a:srgbClr val="FFF8F3"/>
                      </a:solidFill>
                      <a:latin typeface="Cormorant Infant"/>
                    </a:rPr>
                    <a:t>MORNING </a:t>
                  </a:r>
                </a:p>
                <a:p>
                  <a:pPr marL="0" lvl="0" indent="0" algn="r">
                    <a:lnSpc>
                      <a:spcPts val="1715"/>
                    </a:lnSpc>
                    <a:spcBef>
                      <a:spcPct val="0"/>
                    </a:spcBef>
                  </a:pPr>
                  <a:r>
                    <a:rPr lang="en-US" sz="1200" spc="209" dirty="0">
                      <a:solidFill>
                        <a:srgbClr val="FFF8F3"/>
                      </a:solidFill>
                      <a:latin typeface="Cormorant Infant"/>
                    </a:rPr>
                    <a:t>PREPARATIONS</a:t>
                  </a:r>
                </a:p>
              </p:txBody>
            </p:sp>
            <p:sp>
              <p:nvSpPr>
                <p:cNvPr id="14" name="TextBox 14"/>
                <p:cNvSpPr txBox="1"/>
                <p:nvPr/>
              </p:nvSpPr>
              <p:spPr>
                <a:xfrm>
                  <a:off x="1989955" y="3321134"/>
                  <a:ext cx="1545432" cy="206660"/>
                </a:xfrm>
                <a:prstGeom prst="rect">
                  <a:avLst/>
                </a:prstGeom>
              </p:spPr>
              <p:txBody>
                <a:bodyPr lIns="0" tIns="0" rIns="0" bIns="0" rtlCol="0" anchor="t">
                  <a:spAutoFit/>
                </a:bodyPr>
                <a:lstStyle/>
                <a:p>
                  <a:pPr marL="0" lvl="0" indent="0" algn="r">
                    <a:lnSpc>
                      <a:spcPts val="1715"/>
                    </a:lnSpc>
                    <a:spcBef>
                      <a:spcPct val="0"/>
                    </a:spcBef>
                  </a:pPr>
                  <a:r>
                    <a:rPr lang="en-US" sz="1200" b="1" spc="123" dirty="0">
                      <a:solidFill>
                        <a:srgbClr val="FFF8F3"/>
                      </a:solidFill>
                      <a:latin typeface="Cormorant Infant" pitchFamily="2" charset="0"/>
                    </a:rPr>
                    <a:t>8:00 AM - 12:00 PM</a:t>
                  </a:r>
                </a:p>
              </p:txBody>
            </p:sp>
          </p:grpSp>
          <p:sp>
            <p:nvSpPr>
              <p:cNvPr id="16" name="Freeform 16"/>
              <p:cNvSpPr/>
              <p:nvPr/>
            </p:nvSpPr>
            <p:spPr>
              <a:xfrm>
                <a:off x="3724422" y="3349709"/>
                <a:ext cx="111155" cy="111155"/>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8F3"/>
              </a:solidFill>
            </p:spPr>
            <p:txBody>
              <a:bodyPr/>
              <a:lstStyle/>
              <a:p>
                <a:endParaRPr lang="en-US" dirty="0"/>
              </a:p>
            </p:txBody>
          </p:sp>
          <p:sp>
            <p:nvSpPr>
              <p:cNvPr id="19" name="Freeform 19"/>
              <p:cNvSpPr/>
              <p:nvPr/>
            </p:nvSpPr>
            <p:spPr>
              <a:xfrm>
                <a:off x="3724422" y="5993708"/>
                <a:ext cx="111155" cy="111155"/>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8F3"/>
              </a:solidFill>
            </p:spPr>
            <p:txBody>
              <a:bodyPr/>
              <a:lstStyle/>
              <a:p>
                <a:endParaRPr lang="en-US" dirty="0"/>
              </a:p>
            </p:txBody>
          </p:sp>
          <p:grpSp>
            <p:nvGrpSpPr>
              <p:cNvPr id="47" name="Group 46">
                <a:extLst>
                  <a:ext uri="{FF2B5EF4-FFF2-40B4-BE49-F238E27FC236}">
                    <a16:creationId xmlns:a16="http://schemas.microsoft.com/office/drawing/2014/main" id="{F605BA88-4634-33E0-6973-754B302C5245}"/>
                  </a:ext>
                </a:extLst>
              </p:cNvPr>
              <p:cNvGrpSpPr/>
              <p:nvPr/>
            </p:nvGrpSpPr>
            <p:grpSpPr>
              <a:xfrm>
                <a:off x="4024612" y="5965007"/>
                <a:ext cx="2445601" cy="692539"/>
                <a:chOff x="4024612" y="5966108"/>
                <a:chExt cx="2445601" cy="692539"/>
              </a:xfrm>
            </p:grpSpPr>
            <p:sp>
              <p:nvSpPr>
                <p:cNvPr id="21" name="TextBox 21"/>
                <p:cNvSpPr txBox="1"/>
                <p:nvPr/>
              </p:nvSpPr>
              <p:spPr>
                <a:xfrm>
                  <a:off x="4024612" y="5966108"/>
                  <a:ext cx="1545432" cy="206660"/>
                </a:xfrm>
                <a:prstGeom prst="rect">
                  <a:avLst/>
                </a:prstGeom>
              </p:spPr>
              <p:txBody>
                <a:bodyPr lIns="0" tIns="0" rIns="0" bIns="0" rtlCol="0" anchor="t">
                  <a:spAutoFit/>
                </a:bodyPr>
                <a:lstStyle/>
                <a:p>
                  <a:pPr marL="0" lvl="0" indent="0">
                    <a:lnSpc>
                      <a:spcPts val="1715"/>
                    </a:lnSpc>
                    <a:spcBef>
                      <a:spcPct val="0"/>
                    </a:spcBef>
                  </a:pPr>
                  <a:r>
                    <a:rPr lang="en-US" sz="1200" b="1" spc="123" dirty="0">
                      <a:solidFill>
                        <a:srgbClr val="FFF8F3"/>
                      </a:solidFill>
                      <a:latin typeface="Cormorant Infant" pitchFamily="2" charset="0"/>
                    </a:rPr>
                    <a:t>4:30 PM - 5:30 PM</a:t>
                  </a:r>
                </a:p>
              </p:txBody>
            </p:sp>
            <p:sp>
              <p:nvSpPr>
                <p:cNvPr id="22" name="TextBox 22"/>
                <p:cNvSpPr txBox="1"/>
                <p:nvPr/>
              </p:nvSpPr>
              <p:spPr>
                <a:xfrm>
                  <a:off x="4024612" y="6233338"/>
                  <a:ext cx="2445601" cy="425309"/>
                </a:xfrm>
                <a:prstGeom prst="rect">
                  <a:avLst/>
                </a:prstGeom>
              </p:spPr>
              <p:txBody>
                <a:bodyPr lIns="0" tIns="0" rIns="0" bIns="0" rtlCol="0" anchor="t">
                  <a:spAutoFit/>
                </a:bodyPr>
                <a:lstStyle/>
                <a:p>
                  <a:pPr algn="just">
                    <a:lnSpc>
                      <a:spcPts val="1715"/>
                    </a:lnSpc>
                  </a:pPr>
                  <a:r>
                    <a:rPr lang="en-US" sz="1200" spc="209" dirty="0">
                      <a:solidFill>
                        <a:srgbClr val="FFF8F3"/>
                      </a:solidFill>
                      <a:latin typeface="Cormorant Infant"/>
                    </a:rPr>
                    <a:t>COCKTAIL </a:t>
                  </a:r>
                </a:p>
                <a:p>
                  <a:pPr marL="0" lvl="0" indent="0" algn="just">
                    <a:lnSpc>
                      <a:spcPts val="1715"/>
                    </a:lnSpc>
                    <a:spcBef>
                      <a:spcPct val="0"/>
                    </a:spcBef>
                  </a:pPr>
                  <a:r>
                    <a:rPr lang="en-US" sz="1200" spc="209" dirty="0">
                      <a:solidFill>
                        <a:srgbClr val="FFF8F3"/>
                      </a:solidFill>
                      <a:latin typeface="Cormorant Infant"/>
                    </a:rPr>
                    <a:t>HOUR</a:t>
                  </a:r>
                </a:p>
              </p:txBody>
            </p:sp>
          </p:grpSp>
          <p:grpSp>
            <p:nvGrpSpPr>
              <p:cNvPr id="49" name="Group 48">
                <a:extLst>
                  <a:ext uri="{FF2B5EF4-FFF2-40B4-BE49-F238E27FC236}">
                    <a16:creationId xmlns:a16="http://schemas.microsoft.com/office/drawing/2014/main" id="{C7472C59-0731-CD6C-0387-8F998FEBF99E}"/>
                  </a:ext>
                </a:extLst>
              </p:cNvPr>
              <p:cNvGrpSpPr/>
              <p:nvPr/>
            </p:nvGrpSpPr>
            <p:grpSpPr>
              <a:xfrm>
                <a:off x="4024612" y="7727588"/>
                <a:ext cx="2445601" cy="692540"/>
                <a:chOff x="4024612" y="7727588"/>
                <a:chExt cx="2445601" cy="692540"/>
              </a:xfrm>
            </p:grpSpPr>
            <p:sp>
              <p:nvSpPr>
                <p:cNvPr id="23" name="TextBox 23"/>
                <p:cNvSpPr txBox="1"/>
                <p:nvPr/>
              </p:nvSpPr>
              <p:spPr>
                <a:xfrm>
                  <a:off x="4024612" y="7727588"/>
                  <a:ext cx="1663838" cy="206660"/>
                </a:xfrm>
                <a:prstGeom prst="rect">
                  <a:avLst/>
                </a:prstGeom>
              </p:spPr>
              <p:txBody>
                <a:bodyPr lIns="0" tIns="0" rIns="0" bIns="0" rtlCol="0" anchor="t">
                  <a:spAutoFit/>
                </a:bodyPr>
                <a:lstStyle/>
                <a:p>
                  <a:pPr marL="0" lvl="0" indent="0">
                    <a:lnSpc>
                      <a:spcPts val="1715"/>
                    </a:lnSpc>
                    <a:spcBef>
                      <a:spcPct val="0"/>
                    </a:spcBef>
                  </a:pPr>
                  <a:r>
                    <a:rPr lang="en-US" sz="1200" b="1" spc="123" dirty="0">
                      <a:solidFill>
                        <a:srgbClr val="FFF8F3"/>
                      </a:solidFill>
                      <a:latin typeface="Cormorant Infant" pitchFamily="2" charset="0"/>
                    </a:rPr>
                    <a:t>09:00 PM - 12:00 AM</a:t>
                  </a:r>
                </a:p>
              </p:txBody>
            </p:sp>
            <p:sp>
              <p:nvSpPr>
                <p:cNvPr id="24" name="TextBox 24"/>
                <p:cNvSpPr txBox="1"/>
                <p:nvPr/>
              </p:nvSpPr>
              <p:spPr>
                <a:xfrm>
                  <a:off x="4024612" y="7994819"/>
                  <a:ext cx="2445601" cy="425309"/>
                </a:xfrm>
                <a:prstGeom prst="rect">
                  <a:avLst/>
                </a:prstGeom>
              </p:spPr>
              <p:txBody>
                <a:bodyPr lIns="0" tIns="0" rIns="0" bIns="0" rtlCol="0" anchor="t">
                  <a:spAutoFit/>
                </a:bodyPr>
                <a:lstStyle/>
                <a:p>
                  <a:pPr>
                    <a:lnSpc>
                      <a:spcPts val="1715"/>
                    </a:lnSpc>
                  </a:pPr>
                  <a:r>
                    <a:rPr lang="en-US" sz="1200" spc="209" dirty="0">
                      <a:solidFill>
                        <a:srgbClr val="FFF8F3"/>
                      </a:solidFill>
                      <a:latin typeface="Cormorant Infant"/>
                    </a:rPr>
                    <a:t>LAST DANCE </a:t>
                  </a:r>
                </a:p>
                <a:p>
                  <a:pPr marL="0" lvl="0" indent="0">
                    <a:lnSpc>
                      <a:spcPts val="1715"/>
                    </a:lnSpc>
                    <a:spcBef>
                      <a:spcPct val="0"/>
                    </a:spcBef>
                  </a:pPr>
                  <a:r>
                    <a:rPr lang="en-US" sz="1200" spc="209" dirty="0">
                      <a:solidFill>
                        <a:srgbClr val="FFF8F3"/>
                      </a:solidFill>
                      <a:latin typeface="Cormorant Infant"/>
                    </a:rPr>
                    <a:t>AND FAREWELL</a:t>
                  </a:r>
                </a:p>
              </p:txBody>
            </p:sp>
          </p:grpSp>
          <p:sp>
            <p:nvSpPr>
              <p:cNvPr id="26" name="Freeform 26"/>
              <p:cNvSpPr/>
              <p:nvPr/>
            </p:nvSpPr>
            <p:spPr>
              <a:xfrm>
                <a:off x="3724422" y="7756372"/>
                <a:ext cx="111155" cy="111155"/>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8F3"/>
              </a:solidFill>
            </p:spPr>
            <p:txBody>
              <a:bodyPr/>
              <a:lstStyle/>
              <a:p>
                <a:endParaRPr lang="en-US" dirty="0"/>
              </a:p>
            </p:txBody>
          </p:sp>
          <p:sp>
            <p:nvSpPr>
              <p:cNvPr id="29" name="Freeform 29"/>
              <p:cNvSpPr/>
              <p:nvPr/>
            </p:nvSpPr>
            <p:spPr>
              <a:xfrm>
                <a:off x="3724422" y="6875041"/>
                <a:ext cx="111155" cy="111155"/>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8F3"/>
              </a:solidFill>
            </p:spPr>
            <p:txBody>
              <a:bodyPr/>
              <a:lstStyle/>
              <a:p>
                <a:endParaRPr lang="en-US" dirty="0"/>
              </a:p>
            </p:txBody>
          </p:sp>
          <p:grpSp>
            <p:nvGrpSpPr>
              <p:cNvPr id="48" name="Group 47">
                <a:extLst>
                  <a:ext uri="{FF2B5EF4-FFF2-40B4-BE49-F238E27FC236}">
                    <a16:creationId xmlns:a16="http://schemas.microsoft.com/office/drawing/2014/main" id="{90A3A579-E467-956F-2623-C70F8186B4E0}"/>
                  </a:ext>
                </a:extLst>
              </p:cNvPr>
              <p:cNvGrpSpPr/>
              <p:nvPr/>
            </p:nvGrpSpPr>
            <p:grpSpPr>
              <a:xfrm>
                <a:off x="1089786" y="6846298"/>
                <a:ext cx="2445601" cy="692540"/>
                <a:chOff x="1089786" y="6846848"/>
                <a:chExt cx="2445601" cy="692540"/>
              </a:xfrm>
            </p:grpSpPr>
            <p:sp>
              <p:nvSpPr>
                <p:cNvPr id="31" name="TextBox 31"/>
                <p:cNvSpPr txBox="1"/>
                <p:nvPr/>
              </p:nvSpPr>
              <p:spPr>
                <a:xfrm>
                  <a:off x="1089786" y="7114079"/>
                  <a:ext cx="2445601" cy="425309"/>
                </a:xfrm>
                <a:prstGeom prst="rect">
                  <a:avLst/>
                </a:prstGeom>
              </p:spPr>
              <p:txBody>
                <a:bodyPr lIns="0" tIns="0" rIns="0" bIns="0" rtlCol="0" anchor="t">
                  <a:spAutoFit/>
                </a:bodyPr>
                <a:lstStyle/>
                <a:p>
                  <a:pPr algn="r">
                    <a:lnSpc>
                      <a:spcPts val="1715"/>
                    </a:lnSpc>
                  </a:pPr>
                  <a:r>
                    <a:rPr lang="en-US" sz="1200" spc="209" dirty="0">
                      <a:solidFill>
                        <a:srgbClr val="FFF8F3"/>
                      </a:solidFill>
                      <a:latin typeface="Cormorant Infant"/>
                    </a:rPr>
                    <a:t>BOUQUET AND </a:t>
                  </a:r>
                </a:p>
                <a:p>
                  <a:pPr marL="0" lvl="0" indent="0" algn="r">
                    <a:lnSpc>
                      <a:spcPts val="1715"/>
                    </a:lnSpc>
                    <a:spcBef>
                      <a:spcPct val="0"/>
                    </a:spcBef>
                  </a:pPr>
                  <a:r>
                    <a:rPr lang="en-US" sz="1200" spc="209" dirty="0">
                      <a:solidFill>
                        <a:srgbClr val="FFF8F3"/>
                      </a:solidFill>
                      <a:latin typeface="Cormorant Infant"/>
                    </a:rPr>
                    <a:t>GARTER TOSS</a:t>
                  </a:r>
                </a:p>
              </p:txBody>
            </p:sp>
            <p:sp>
              <p:nvSpPr>
                <p:cNvPr id="32" name="TextBox 32"/>
                <p:cNvSpPr txBox="1"/>
                <p:nvPr/>
              </p:nvSpPr>
              <p:spPr>
                <a:xfrm>
                  <a:off x="1820688" y="6846848"/>
                  <a:ext cx="1714699" cy="206660"/>
                </a:xfrm>
                <a:prstGeom prst="rect">
                  <a:avLst/>
                </a:prstGeom>
              </p:spPr>
              <p:txBody>
                <a:bodyPr lIns="0" tIns="0" rIns="0" bIns="0" rtlCol="0" anchor="t">
                  <a:spAutoFit/>
                </a:bodyPr>
                <a:lstStyle/>
                <a:p>
                  <a:pPr marL="0" lvl="0" indent="0" algn="r">
                    <a:lnSpc>
                      <a:spcPts val="1715"/>
                    </a:lnSpc>
                    <a:spcBef>
                      <a:spcPct val="0"/>
                    </a:spcBef>
                  </a:pPr>
                  <a:r>
                    <a:rPr lang="en-US" sz="1200" b="1" spc="123" dirty="0">
                      <a:solidFill>
                        <a:srgbClr val="FFF8F3"/>
                      </a:solidFill>
                      <a:latin typeface="Cormorant Infant" pitchFamily="2" charset="0"/>
                    </a:rPr>
                    <a:t>6:30 PM - 8:30 PM</a:t>
                  </a:r>
                </a:p>
              </p:txBody>
            </p:sp>
          </p:grpSp>
          <p:sp>
            <p:nvSpPr>
              <p:cNvPr id="34" name="Freeform 34"/>
              <p:cNvSpPr/>
              <p:nvPr/>
            </p:nvSpPr>
            <p:spPr>
              <a:xfrm>
                <a:off x="3724422" y="4231042"/>
                <a:ext cx="111155" cy="111155"/>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8F3"/>
              </a:solidFill>
            </p:spPr>
            <p:txBody>
              <a:bodyPr/>
              <a:lstStyle/>
              <a:p>
                <a:endParaRPr lang="en-US" dirty="0"/>
              </a:p>
            </p:txBody>
          </p:sp>
          <p:grpSp>
            <p:nvGrpSpPr>
              <p:cNvPr id="42" name="Group 41">
                <a:extLst>
                  <a:ext uri="{FF2B5EF4-FFF2-40B4-BE49-F238E27FC236}">
                    <a16:creationId xmlns:a16="http://schemas.microsoft.com/office/drawing/2014/main" id="{1A867040-5335-F7EC-CA92-E887D5FC46E4}"/>
                  </a:ext>
                </a:extLst>
              </p:cNvPr>
              <p:cNvGrpSpPr/>
              <p:nvPr/>
            </p:nvGrpSpPr>
            <p:grpSpPr>
              <a:xfrm>
                <a:off x="4024612" y="4202425"/>
                <a:ext cx="2445601" cy="692539"/>
                <a:chOff x="4024612" y="4201875"/>
                <a:chExt cx="2445601" cy="692539"/>
              </a:xfrm>
            </p:grpSpPr>
            <p:sp>
              <p:nvSpPr>
                <p:cNvPr id="36" name="TextBox 36"/>
                <p:cNvSpPr txBox="1"/>
                <p:nvPr/>
              </p:nvSpPr>
              <p:spPr>
                <a:xfrm>
                  <a:off x="4024612" y="4201875"/>
                  <a:ext cx="1545432" cy="206660"/>
                </a:xfrm>
                <a:prstGeom prst="rect">
                  <a:avLst/>
                </a:prstGeom>
              </p:spPr>
              <p:txBody>
                <a:bodyPr lIns="0" tIns="0" rIns="0" bIns="0" rtlCol="0" anchor="t">
                  <a:spAutoFit/>
                </a:bodyPr>
                <a:lstStyle/>
                <a:p>
                  <a:pPr marL="0" lvl="0" indent="0">
                    <a:lnSpc>
                      <a:spcPts val="1715"/>
                    </a:lnSpc>
                    <a:spcBef>
                      <a:spcPct val="0"/>
                    </a:spcBef>
                  </a:pPr>
                  <a:r>
                    <a:rPr lang="en-US" sz="1183" b="1" spc="123" dirty="0">
                      <a:solidFill>
                        <a:srgbClr val="FFF8F3"/>
                      </a:solidFill>
                      <a:latin typeface="Cormorant Infant" pitchFamily="2" charset="0"/>
                    </a:rPr>
                    <a:t>12:00 PM - 2:00 PM</a:t>
                  </a:r>
                </a:p>
              </p:txBody>
            </p:sp>
            <p:sp>
              <p:nvSpPr>
                <p:cNvPr id="37" name="TextBox 37"/>
                <p:cNvSpPr txBox="1"/>
                <p:nvPr/>
              </p:nvSpPr>
              <p:spPr>
                <a:xfrm>
                  <a:off x="4024612" y="4469105"/>
                  <a:ext cx="2445601" cy="425309"/>
                </a:xfrm>
                <a:prstGeom prst="rect">
                  <a:avLst/>
                </a:prstGeom>
              </p:spPr>
              <p:txBody>
                <a:bodyPr lIns="0" tIns="0" rIns="0" bIns="0" rtlCol="0" anchor="t">
                  <a:spAutoFit/>
                </a:bodyPr>
                <a:lstStyle/>
                <a:p>
                  <a:pPr algn="just">
                    <a:lnSpc>
                      <a:spcPts val="1715"/>
                    </a:lnSpc>
                  </a:pPr>
                  <a:r>
                    <a:rPr lang="en-US" sz="1200" spc="209" dirty="0">
                      <a:solidFill>
                        <a:srgbClr val="FFF8F3"/>
                      </a:solidFill>
                      <a:latin typeface="Cormorant Infant"/>
                    </a:rPr>
                    <a:t>FIRST LOOK </a:t>
                  </a:r>
                </a:p>
                <a:p>
                  <a:pPr marL="0" lvl="0" indent="0" algn="just">
                    <a:lnSpc>
                      <a:spcPts val="1715"/>
                    </a:lnSpc>
                    <a:spcBef>
                      <a:spcPct val="0"/>
                    </a:spcBef>
                  </a:pPr>
                  <a:r>
                    <a:rPr lang="en-US" sz="1200" spc="209" dirty="0">
                      <a:solidFill>
                        <a:srgbClr val="FFF8F3"/>
                      </a:solidFill>
                      <a:latin typeface="Cormorant Infant"/>
                    </a:rPr>
                    <a:t>AND PHOTOS</a:t>
                  </a:r>
                </a:p>
              </p:txBody>
            </p:sp>
          </p:grpSp>
        </p:grpSp>
        <p:grpSp>
          <p:nvGrpSpPr>
            <p:cNvPr id="51" name="Group 50">
              <a:extLst>
                <a:ext uri="{FF2B5EF4-FFF2-40B4-BE49-F238E27FC236}">
                  <a16:creationId xmlns:a16="http://schemas.microsoft.com/office/drawing/2014/main" id="{7DFF75F7-DC6B-4C85-ECF9-7F37888E953A}"/>
                </a:ext>
              </a:extLst>
            </p:cNvPr>
            <p:cNvGrpSpPr/>
            <p:nvPr/>
          </p:nvGrpSpPr>
          <p:grpSpPr>
            <a:xfrm>
              <a:off x="1471051" y="9159495"/>
              <a:ext cx="4617898" cy="910828"/>
              <a:chOff x="1471051" y="9159495"/>
              <a:chExt cx="4617898" cy="910828"/>
            </a:xfrm>
          </p:grpSpPr>
          <p:sp>
            <p:nvSpPr>
              <p:cNvPr id="43" name="TextBox 43"/>
              <p:cNvSpPr txBox="1"/>
              <p:nvPr/>
            </p:nvSpPr>
            <p:spPr>
              <a:xfrm>
                <a:off x="2220277" y="9754073"/>
                <a:ext cx="3119445" cy="316250"/>
              </a:xfrm>
              <a:prstGeom prst="rect">
                <a:avLst/>
              </a:prstGeom>
            </p:spPr>
            <p:txBody>
              <a:bodyPr lIns="0" tIns="0" rIns="0" bIns="0" rtlCol="0" anchor="t">
                <a:spAutoFit/>
              </a:bodyPr>
              <a:lstStyle/>
              <a:p>
                <a:pPr marL="0" lvl="0" indent="0" algn="ctr">
                  <a:lnSpc>
                    <a:spcPts val="1219"/>
                  </a:lnSpc>
                  <a:spcBef>
                    <a:spcPct val="0"/>
                  </a:spcBef>
                </a:pPr>
                <a:r>
                  <a:rPr lang="en-US" sz="999" u="none" strike="noStrike" dirty="0">
                    <a:solidFill>
                      <a:srgbClr val="FFF8F3"/>
                    </a:solidFill>
                    <a:latin typeface="Ovo"/>
                  </a:rPr>
                  <a:t>Thank you for joining us</a:t>
                </a:r>
              </a:p>
              <a:p>
                <a:pPr marL="0" lvl="0" indent="0" algn="ctr">
                  <a:lnSpc>
                    <a:spcPts val="1219"/>
                  </a:lnSpc>
                  <a:spcBef>
                    <a:spcPct val="0"/>
                  </a:spcBef>
                </a:pPr>
                <a:r>
                  <a:rPr lang="en-US" sz="999" u="none" strike="noStrike" dirty="0">
                    <a:solidFill>
                      <a:srgbClr val="FFF8F3"/>
                    </a:solidFill>
                    <a:latin typeface="Ovo"/>
                  </a:rPr>
                  <a:t>in celebrating this special occasion!</a:t>
                </a:r>
              </a:p>
            </p:txBody>
          </p:sp>
          <p:sp>
            <p:nvSpPr>
              <p:cNvPr id="44" name="TextBox 44"/>
              <p:cNvSpPr txBox="1"/>
              <p:nvPr/>
            </p:nvSpPr>
            <p:spPr>
              <a:xfrm>
                <a:off x="1471051" y="9159495"/>
                <a:ext cx="4617898" cy="618267"/>
              </a:xfrm>
              <a:prstGeom prst="rect">
                <a:avLst/>
              </a:prstGeom>
            </p:spPr>
            <p:txBody>
              <a:bodyPr lIns="0" tIns="0" rIns="0" bIns="0" rtlCol="0" anchor="t">
                <a:spAutoFit/>
              </a:bodyPr>
              <a:lstStyle/>
              <a:p>
                <a:pPr marL="0" lvl="0" indent="0" algn="ctr">
                  <a:lnSpc>
                    <a:spcPts val="5440"/>
                  </a:lnSpc>
                  <a:spcBef>
                    <a:spcPct val="0"/>
                  </a:spcBef>
                </a:pPr>
                <a:r>
                  <a:rPr lang="en-US" sz="3400" dirty="0">
                    <a:solidFill>
                      <a:srgbClr val="FFF8F3"/>
                    </a:solidFill>
                    <a:latin typeface="Mrs Saint Delafield"/>
                  </a:rPr>
                  <a:t>Anna &amp; Thomas</a:t>
                </a:r>
              </a:p>
            </p:txBody>
          </p:sp>
        </p:grpSp>
        <p:grpSp>
          <p:nvGrpSpPr>
            <p:cNvPr id="6" name="Group 5">
              <a:extLst>
                <a:ext uri="{FF2B5EF4-FFF2-40B4-BE49-F238E27FC236}">
                  <a16:creationId xmlns:a16="http://schemas.microsoft.com/office/drawing/2014/main" id="{AD0976ED-A0BF-5360-159D-B05D2CDACABB}"/>
                </a:ext>
              </a:extLst>
            </p:cNvPr>
            <p:cNvGrpSpPr/>
            <p:nvPr/>
          </p:nvGrpSpPr>
          <p:grpSpPr>
            <a:xfrm>
              <a:off x="-779421" y="-1500828"/>
              <a:ext cx="9094474" cy="12267089"/>
              <a:chOff x="-779421" y="-1500828"/>
              <a:chExt cx="9094474" cy="12267089"/>
            </a:xfrm>
          </p:grpSpPr>
          <p:sp>
            <p:nvSpPr>
              <p:cNvPr id="8" name="Freeform: Shape 7">
                <a:extLst>
                  <a:ext uri="{FF2B5EF4-FFF2-40B4-BE49-F238E27FC236}">
                    <a16:creationId xmlns:a16="http://schemas.microsoft.com/office/drawing/2014/main" id="{63D8ACEE-82F2-74C7-DF8A-C0D9C69CD733}"/>
                  </a:ext>
                </a:extLst>
              </p:cNvPr>
              <p:cNvSpPr/>
              <p:nvPr/>
            </p:nvSpPr>
            <p:spPr>
              <a:xfrm rot="-3072317">
                <a:off x="6102978" y="8545749"/>
                <a:ext cx="2405622" cy="2018528"/>
              </a:xfrm>
              <a:custGeom>
                <a:avLst/>
                <a:gdLst>
                  <a:gd name="connsiteX0" fmla="*/ 2405622 w 2405622"/>
                  <a:gd name="connsiteY0" fmla="*/ 0 h 2018528"/>
                  <a:gd name="connsiteX1" fmla="*/ 2405622 w 2405622"/>
                  <a:gd name="connsiteY1" fmla="*/ 364035 h 2018528"/>
                  <a:gd name="connsiteX2" fmla="*/ 347459 w 2405622"/>
                  <a:gd name="connsiteY2" fmla="*/ 2018528 h 2018528"/>
                  <a:gd name="connsiteX3" fmla="*/ 0 w 2405622"/>
                  <a:gd name="connsiteY3" fmla="*/ 2018528 h 2018528"/>
                  <a:gd name="connsiteX4" fmla="*/ 0 w 2405622"/>
                  <a:gd name="connsiteY4" fmla="*/ 0 h 2018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5622" h="2018528">
                    <a:moveTo>
                      <a:pt x="2405622" y="0"/>
                    </a:moveTo>
                    <a:lnTo>
                      <a:pt x="2405622" y="364035"/>
                    </a:lnTo>
                    <a:lnTo>
                      <a:pt x="347459" y="2018528"/>
                    </a:lnTo>
                    <a:lnTo>
                      <a:pt x="0" y="2018528"/>
                    </a:lnTo>
                    <a:lnTo>
                      <a:pt x="0" y="0"/>
                    </a:lnTo>
                    <a:close/>
                  </a:path>
                </a:pathLst>
              </a:custGeom>
              <a:blipFill>
                <a:blip r:embed="rId3">
                  <a:extLst>
                    <a:ext uri="{96DAC541-7B7A-43D3-8B79-37D633B846F1}">
                      <asvg:svgBlip xmlns:asvg="http://schemas.microsoft.com/office/drawing/2016/SVG/main" r:embed="rId4"/>
                    </a:ext>
                  </a:extLst>
                </a:blip>
                <a:stretch>
                  <a:fillRect l="-22459" r="-75391" b="-135794"/>
                </a:stretch>
              </a:blipFill>
              <a:ln cap="sq">
                <a:noFill/>
                <a:prstDash val="solid"/>
                <a:miter/>
              </a:ln>
            </p:spPr>
            <p:txBody>
              <a:bodyPr wrap="square">
                <a:noAutofit/>
              </a:bodyPr>
              <a:lstStyle/>
              <a:p>
                <a:endParaRPr lang="en-US" dirty="0"/>
              </a:p>
            </p:txBody>
          </p:sp>
          <p:sp>
            <p:nvSpPr>
              <p:cNvPr id="15" name="Freeform: Shape 14">
                <a:extLst>
                  <a:ext uri="{FF2B5EF4-FFF2-40B4-BE49-F238E27FC236}">
                    <a16:creationId xmlns:a16="http://schemas.microsoft.com/office/drawing/2014/main" id="{ACB2E2CC-3521-477C-C3D6-50BC44F5E87B}"/>
                  </a:ext>
                </a:extLst>
              </p:cNvPr>
              <p:cNvSpPr/>
              <p:nvPr/>
            </p:nvSpPr>
            <p:spPr>
              <a:xfrm rot="3072000" flipH="1">
                <a:off x="-959346" y="8540564"/>
                <a:ext cx="2405622" cy="2045772"/>
              </a:xfrm>
              <a:custGeom>
                <a:avLst/>
                <a:gdLst>
                  <a:gd name="connsiteX0" fmla="*/ 2405622 w 2405622"/>
                  <a:gd name="connsiteY0" fmla="*/ 0 h 2045772"/>
                  <a:gd name="connsiteX1" fmla="*/ 0 w 2405622"/>
                  <a:gd name="connsiteY1" fmla="*/ 0 h 2045772"/>
                  <a:gd name="connsiteX2" fmla="*/ 0 w 2405622"/>
                  <a:gd name="connsiteY2" fmla="*/ 2045772 h 2045772"/>
                  <a:gd name="connsiteX3" fmla="*/ 319144 w 2405622"/>
                  <a:gd name="connsiteY3" fmla="*/ 2045772 h 2045772"/>
                  <a:gd name="connsiteX4" fmla="*/ 2062766 w 2405622"/>
                  <a:gd name="connsiteY4" fmla="*/ 643864 h 2045772"/>
                  <a:gd name="connsiteX5" fmla="*/ 2405622 w 2405622"/>
                  <a:gd name="connsiteY5" fmla="*/ 1070291 h 2045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5622" h="2045772">
                    <a:moveTo>
                      <a:pt x="2405622" y="0"/>
                    </a:moveTo>
                    <a:lnTo>
                      <a:pt x="0" y="0"/>
                    </a:lnTo>
                    <a:lnTo>
                      <a:pt x="0" y="2045772"/>
                    </a:lnTo>
                    <a:lnTo>
                      <a:pt x="319144" y="2045772"/>
                    </a:lnTo>
                    <a:lnTo>
                      <a:pt x="2062766" y="643864"/>
                    </a:lnTo>
                    <a:lnTo>
                      <a:pt x="2405622" y="1070291"/>
                    </a:lnTo>
                    <a:close/>
                  </a:path>
                </a:pathLst>
              </a:custGeom>
              <a:blipFill>
                <a:blip r:embed="rId3">
                  <a:extLst>
                    <a:ext uri="{96DAC541-7B7A-43D3-8B79-37D633B846F1}">
                      <asvg:svgBlip xmlns:asvg="http://schemas.microsoft.com/office/drawing/2016/SVG/main" r:embed="rId4"/>
                    </a:ext>
                  </a:extLst>
                </a:blip>
                <a:stretch>
                  <a:fillRect l="-22459" r="-75391" b="-132654"/>
                </a:stretch>
              </a:blipFill>
              <a:ln cap="sq">
                <a:noFill/>
                <a:prstDash val="solid"/>
                <a:miter/>
              </a:ln>
            </p:spPr>
            <p:txBody>
              <a:bodyPr wrap="square">
                <a:noAutofit/>
              </a:bodyPr>
              <a:lstStyle/>
              <a:p>
                <a:endParaRPr lang="en-US" dirty="0"/>
              </a:p>
            </p:txBody>
          </p:sp>
          <p:sp>
            <p:nvSpPr>
              <p:cNvPr id="18" name="Freeform: Shape 17">
                <a:extLst>
                  <a:ext uri="{FF2B5EF4-FFF2-40B4-BE49-F238E27FC236}">
                    <a16:creationId xmlns:a16="http://schemas.microsoft.com/office/drawing/2014/main" id="{77358A84-1FAD-4481-9886-247D7F24BCA5}"/>
                  </a:ext>
                </a:extLst>
              </p:cNvPr>
              <p:cNvSpPr/>
              <p:nvPr/>
            </p:nvSpPr>
            <p:spPr>
              <a:xfrm rot="8848597">
                <a:off x="5394495" y="-1499669"/>
                <a:ext cx="2358543" cy="4303756"/>
              </a:xfrm>
              <a:custGeom>
                <a:avLst/>
                <a:gdLst>
                  <a:gd name="connsiteX0" fmla="*/ 1484951 w 2358543"/>
                  <a:gd name="connsiteY0" fmla="*/ 4303756 h 4303756"/>
                  <a:gd name="connsiteX1" fmla="*/ 2021438 w 2358543"/>
                  <a:gd name="connsiteY1" fmla="*/ 3462399 h 4303756"/>
                  <a:gd name="connsiteX2" fmla="*/ 0 w 2358543"/>
                  <a:gd name="connsiteY2" fmla="*/ 2173441 h 4303756"/>
                  <a:gd name="connsiteX3" fmla="*/ 1385883 w 2358543"/>
                  <a:gd name="connsiteY3" fmla="*/ 0 h 4303756"/>
                  <a:gd name="connsiteX4" fmla="*/ 2358543 w 2358543"/>
                  <a:gd name="connsiteY4" fmla="*/ 0 h 4303756"/>
                  <a:gd name="connsiteX5" fmla="*/ 2358543 w 2358543"/>
                  <a:gd name="connsiteY5" fmla="*/ 4303756 h 430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8543" h="4303756">
                    <a:moveTo>
                      <a:pt x="1484951" y="4303756"/>
                    </a:moveTo>
                    <a:lnTo>
                      <a:pt x="2021438" y="3462399"/>
                    </a:lnTo>
                    <a:lnTo>
                      <a:pt x="0" y="2173441"/>
                    </a:lnTo>
                    <a:lnTo>
                      <a:pt x="1385883" y="0"/>
                    </a:lnTo>
                    <a:lnTo>
                      <a:pt x="2358543" y="0"/>
                    </a:lnTo>
                    <a:lnTo>
                      <a:pt x="2358543" y="4303756"/>
                    </a:lnTo>
                    <a:close/>
                  </a:path>
                </a:pathLst>
              </a:custGeom>
              <a:blipFill>
                <a:blip r:embed="rId5">
                  <a:extLst>
                    <a:ext uri="{96DAC541-7B7A-43D3-8B79-37D633B846F1}">
                      <asvg:svgBlip xmlns:asvg="http://schemas.microsoft.com/office/drawing/2016/SVG/main" r:embed="rId6"/>
                    </a:ext>
                  </a:extLst>
                </a:blip>
                <a:stretch>
                  <a:fillRect l="-91977"/>
                </a:stretch>
              </a:blipFill>
            </p:spPr>
            <p:txBody>
              <a:bodyPr wrap="square">
                <a:noAutofit/>
              </a:bodyPr>
              <a:lstStyle/>
              <a:p>
                <a:endParaRPr lang="en-US" dirty="0"/>
              </a:p>
            </p:txBody>
          </p:sp>
          <p:sp>
            <p:nvSpPr>
              <p:cNvPr id="25" name="Freeform: Shape 24">
                <a:extLst>
                  <a:ext uri="{FF2B5EF4-FFF2-40B4-BE49-F238E27FC236}">
                    <a16:creationId xmlns:a16="http://schemas.microsoft.com/office/drawing/2014/main" id="{13C6CD05-ABC2-D5D4-4CA5-0400B998346A}"/>
                  </a:ext>
                </a:extLst>
              </p:cNvPr>
              <p:cNvSpPr/>
              <p:nvPr/>
            </p:nvSpPr>
            <p:spPr>
              <a:xfrm rot="-8850000" flipH="1">
                <a:off x="-195530" y="-1500828"/>
                <a:ext cx="2361301" cy="4303756"/>
              </a:xfrm>
              <a:custGeom>
                <a:avLst/>
                <a:gdLst>
                  <a:gd name="connsiteX0" fmla="*/ 1442272 w 2361301"/>
                  <a:gd name="connsiteY0" fmla="*/ 4303756 h 4303756"/>
                  <a:gd name="connsiteX1" fmla="*/ 2361301 w 2361301"/>
                  <a:gd name="connsiteY1" fmla="*/ 4303756 h 4303756"/>
                  <a:gd name="connsiteX2" fmla="*/ 2361301 w 2361301"/>
                  <a:gd name="connsiteY2" fmla="*/ 0 h 4303756"/>
                  <a:gd name="connsiteX3" fmla="*/ 1383502 w 2361301"/>
                  <a:gd name="connsiteY3" fmla="*/ 0 h 4303756"/>
                  <a:gd name="connsiteX4" fmla="*/ 0 w 2361301"/>
                  <a:gd name="connsiteY4" fmla="*/ 2171663 h 4303756"/>
                  <a:gd name="connsiteX5" fmla="*/ 1992067 w 2361301"/>
                  <a:gd name="connsiteY5" fmla="*/ 3440750 h 430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61301" h="4303756">
                    <a:moveTo>
                      <a:pt x="1442272" y="4303756"/>
                    </a:moveTo>
                    <a:lnTo>
                      <a:pt x="2361301" y="4303756"/>
                    </a:lnTo>
                    <a:lnTo>
                      <a:pt x="2361301" y="0"/>
                    </a:lnTo>
                    <a:lnTo>
                      <a:pt x="1383502" y="0"/>
                    </a:lnTo>
                    <a:lnTo>
                      <a:pt x="0" y="2171663"/>
                    </a:lnTo>
                    <a:lnTo>
                      <a:pt x="1992067" y="3440750"/>
                    </a:lnTo>
                    <a:close/>
                  </a:path>
                </a:pathLst>
              </a:custGeom>
              <a:blipFill>
                <a:blip r:embed="rId5">
                  <a:extLst>
                    <a:ext uri="{96DAC541-7B7A-43D3-8B79-37D633B846F1}">
                      <asvg:svgBlip xmlns:asvg="http://schemas.microsoft.com/office/drawing/2016/SVG/main" r:embed="rId6"/>
                    </a:ext>
                  </a:extLst>
                </a:blip>
                <a:stretch>
                  <a:fillRect l="-97400"/>
                </a:stretch>
              </a:blipFill>
            </p:spPr>
            <p:txBody>
              <a:bodyPr wrap="square">
                <a:noAutofit/>
              </a:bodyPr>
              <a:lstStyle/>
              <a:p>
                <a:endParaRPr lang="en-US" dirty="0"/>
              </a:p>
            </p:txBody>
          </p:sp>
        </p:grpSp>
        <p:sp>
          <p:nvSpPr>
            <p:cNvPr id="45" name="TemplateLAB"/>
            <p:cNvSpPr/>
            <p:nvPr/>
          </p:nvSpPr>
          <p:spPr>
            <a:xfrm>
              <a:off x="3413970" y="10269100"/>
              <a:ext cx="732059" cy="120790"/>
            </a:xfrm>
            <a:custGeom>
              <a:avLst/>
              <a:gdLst/>
              <a:ahLst/>
              <a:cxnLst/>
              <a:rect l="l" t="t" r="r" b="b"/>
              <a:pathLst>
                <a:path w="732059" h="120790">
                  <a:moveTo>
                    <a:pt x="0" y="0"/>
                  </a:moveTo>
                  <a:lnTo>
                    <a:pt x="732060" y="0"/>
                  </a:lnTo>
                  <a:lnTo>
                    <a:pt x="732060" y="120790"/>
                  </a:lnTo>
                  <a:lnTo>
                    <a:pt x="0" y="120790"/>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US" dirty="0"/>
            </a:p>
          </p:txBody>
        </p:sp>
      </p:grpSp>
    </p:spTree>
    <p:custDataLst>
      <p:tags r:id="rId1"/>
    </p:custData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66</TotalTime>
  <Words>426</Words>
  <Application>Microsoft Office PowerPoint</Application>
  <PresentationFormat>Custom</PresentationFormat>
  <Paragraphs>57</Paragraphs>
  <Slides>4</Slides>
  <Notes>0</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4</vt:i4>
      </vt:variant>
    </vt:vector>
  </HeadingPairs>
  <TitlesOfParts>
    <vt:vector size="12" baseType="lpstr">
      <vt:lpstr>Cormorant Infant</vt:lpstr>
      <vt:lpstr>Cormorant Infant Medium</vt:lpstr>
      <vt:lpstr>Cormorant Infant Bold Italics</vt:lpstr>
      <vt:lpstr>Calibri</vt:lpstr>
      <vt:lpstr>Arial</vt:lpstr>
      <vt:lpstr>Ovo</vt:lpstr>
      <vt:lpstr>Mrs Saint Delafield</vt:lpstr>
      <vt:lpstr>Office Theme</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py of Booklet template</dc:title>
  <dc:creator>Hoang Anh</dc:creator>
  <cp:lastModifiedBy>Hoang Anh</cp:lastModifiedBy>
  <cp:revision>9</cp:revision>
  <dcterms:created xsi:type="dcterms:W3CDTF">2006-08-16T00:00:00Z</dcterms:created>
  <dcterms:modified xsi:type="dcterms:W3CDTF">2023-12-17T04:25:46Z</dcterms:modified>
  <dc:identifier>DAF2xnUbmvk</dc:identifier>
</cp:coreProperties>
</file>